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146846955" r:id="rId2"/>
    <p:sldId id="2146846956" r:id="rId3"/>
    <p:sldId id="2146846957" r:id="rId4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79" d="100"/>
          <a:sy n="79" d="100"/>
        </p:scale>
        <p:origin x="765" y="-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10" Type="http://schemas.microsoft.com/office/2016/11/relationships/changesInfo" Target="changesInfos/changesInfo1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teiner, Sonja (Ext)" userId="e93b931c-3084-4a52-96c3-8ad5f98bb528" providerId="ADAL" clId="{F864D6A4-9C8B-4765-BC7E-F1C21DE060D2}"/>
    <pc:docChg chg="undo custSel delSld modSld modMainMaster replTag">
      <pc:chgData name="Steiner, Sonja (Ext)" userId="e93b931c-3084-4a52-96c3-8ad5f98bb528" providerId="ADAL" clId="{F864D6A4-9C8B-4765-BC7E-F1C21DE060D2}" dt="2022-11-09T14:40:35.967" v="997" actId="14100"/>
      <pc:docMkLst>
        <pc:docMk/>
      </pc:docMkLst>
      <pc:sldChg chg="del">
        <pc:chgData name="Steiner, Sonja (Ext)" userId="e93b931c-3084-4a52-96c3-8ad5f98bb528" providerId="ADAL" clId="{F864D6A4-9C8B-4765-BC7E-F1C21DE060D2}" dt="2022-11-09T13:53:25.293" v="0" actId="47"/>
        <pc:sldMkLst>
          <pc:docMk/>
          <pc:sldMk cId="2703577619" sldId="2146846954"/>
        </pc:sldMkLst>
      </pc:sldChg>
      <pc:sldChg chg="addSp delSp modSp mod modTransition">
        <pc:chgData name="Steiner, Sonja (Ext)" userId="e93b931c-3084-4a52-96c3-8ad5f98bb528" providerId="ADAL" clId="{F864D6A4-9C8B-4765-BC7E-F1C21DE060D2}" dt="2022-11-09T14:40:35.967" v="997" actId="14100"/>
        <pc:sldMkLst>
          <pc:docMk/>
          <pc:sldMk cId="3746295820" sldId="2146846955"/>
        </pc:sldMkLst>
        <pc:spChg chg="mod">
          <ac:chgData name="Steiner, Sonja (Ext)" userId="e93b931c-3084-4a52-96c3-8ad5f98bb528" providerId="ADAL" clId="{F864D6A4-9C8B-4765-BC7E-F1C21DE060D2}" dt="2022-11-09T13:56:54.066" v="148" actId="1076"/>
          <ac:spMkLst>
            <pc:docMk/>
            <pc:sldMk cId="3746295820" sldId="2146846955"/>
            <ac:spMk id="2" creationId="{56AB31DF-C301-5A4B-A92B-3AA9954BEA7D}"/>
          </ac:spMkLst>
        </pc:spChg>
        <pc:spChg chg="mod">
          <ac:chgData name="Steiner, Sonja (Ext)" userId="e93b931c-3084-4a52-96c3-8ad5f98bb528" providerId="ADAL" clId="{F864D6A4-9C8B-4765-BC7E-F1C21DE060D2}" dt="2022-11-09T14:31:54.656" v="995" actId="1076"/>
          <ac:spMkLst>
            <pc:docMk/>
            <pc:sldMk cId="3746295820" sldId="2146846955"/>
            <ac:spMk id="4" creationId="{0E0F0026-F576-4F91-A28C-4E809FB3D2C8}"/>
          </ac:spMkLst>
        </pc:spChg>
        <pc:spChg chg="add del mod">
          <ac:chgData name="Steiner, Sonja (Ext)" userId="e93b931c-3084-4a52-96c3-8ad5f98bb528" providerId="ADAL" clId="{F864D6A4-9C8B-4765-BC7E-F1C21DE060D2}" dt="2022-11-09T13:54:12.917" v="6" actId="478"/>
          <ac:spMkLst>
            <pc:docMk/>
            <pc:sldMk cId="3746295820" sldId="2146846955"/>
            <ac:spMk id="5" creationId="{E84C05F0-5A3C-42E4-A5D7-6BD20C9401CC}"/>
          </ac:spMkLst>
        </pc:spChg>
        <pc:spChg chg="add mod">
          <ac:chgData name="Steiner, Sonja (Ext)" userId="e93b931c-3084-4a52-96c3-8ad5f98bb528" providerId="ADAL" clId="{F864D6A4-9C8B-4765-BC7E-F1C21DE060D2}" dt="2022-11-09T14:00:00.882" v="387" actId="1076"/>
          <ac:spMkLst>
            <pc:docMk/>
            <pc:sldMk cId="3746295820" sldId="2146846955"/>
            <ac:spMk id="8" creationId="{5CB08D5A-B557-417C-90F3-D2243A13D358}"/>
          </ac:spMkLst>
        </pc:spChg>
        <pc:spChg chg="mod">
          <ac:chgData name="Steiner, Sonja (Ext)" userId="e93b931c-3084-4a52-96c3-8ad5f98bb528" providerId="ADAL" clId="{F864D6A4-9C8B-4765-BC7E-F1C21DE060D2}" dt="2022-11-09T13:57:01.406" v="318" actId="948"/>
          <ac:spMkLst>
            <pc:docMk/>
            <pc:sldMk cId="3746295820" sldId="2146846955"/>
            <ac:spMk id="9" creationId="{0734E06D-272A-43A5-9218-92F555097955}"/>
          </ac:spMkLst>
        </pc:spChg>
        <pc:spChg chg="add del mod modVis">
          <ac:chgData name="Steiner, Sonja (Ext)" userId="e93b931c-3084-4a52-96c3-8ad5f98bb528" providerId="ADAL" clId="{F864D6A4-9C8B-4765-BC7E-F1C21DE060D2}" dt="2022-11-09T13:56:58.733" v="248"/>
          <ac:spMkLst>
            <pc:docMk/>
            <pc:sldMk cId="3746295820" sldId="2146846955"/>
            <ac:spMk id="10" creationId="{E1015C46-C15D-4A74-87DE-77381FC24E96}"/>
          </ac:spMkLst>
        </pc:spChg>
        <pc:spChg chg="mod">
          <ac:chgData name="Steiner, Sonja (Ext)" userId="e93b931c-3084-4a52-96c3-8ad5f98bb528" providerId="ADAL" clId="{F864D6A4-9C8B-4765-BC7E-F1C21DE060D2}" dt="2022-11-09T14:05:39.206" v="511" actId="552"/>
          <ac:spMkLst>
            <pc:docMk/>
            <pc:sldMk cId="3746295820" sldId="2146846955"/>
            <ac:spMk id="12" creationId="{06D4ACA0-8351-4BC3-B3F4-2AA62A63FD9B}"/>
          </ac:spMkLst>
        </pc:spChg>
        <pc:spChg chg="mod">
          <ac:chgData name="Steiner, Sonja (Ext)" userId="e93b931c-3084-4a52-96c3-8ad5f98bb528" providerId="ADAL" clId="{F864D6A4-9C8B-4765-BC7E-F1C21DE060D2}" dt="2022-11-09T14:05:39.206" v="511" actId="552"/>
          <ac:spMkLst>
            <pc:docMk/>
            <pc:sldMk cId="3746295820" sldId="2146846955"/>
            <ac:spMk id="13" creationId="{EA086E49-0059-43DD-8398-C3F97AE1AFC6}"/>
          </ac:spMkLst>
        </pc:spChg>
        <pc:spChg chg="mod">
          <ac:chgData name="Steiner, Sonja (Ext)" userId="e93b931c-3084-4a52-96c3-8ad5f98bb528" providerId="ADAL" clId="{F864D6A4-9C8B-4765-BC7E-F1C21DE060D2}" dt="2022-11-09T14:05:39.206" v="511" actId="552"/>
          <ac:spMkLst>
            <pc:docMk/>
            <pc:sldMk cId="3746295820" sldId="2146846955"/>
            <ac:spMk id="14" creationId="{EE828BAF-8E20-4D78-9E34-352BF63D18A2}"/>
          </ac:spMkLst>
        </pc:spChg>
        <pc:spChg chg="mod">
          <ac:chgData name="Steiner, Sonja (Ext)" userId="e93b931c-3084-4a52-96c3-8ad5f98bb528" providerId="ADAL" clId="{F864D6A4-9C8B-4765-BC7E-F1C21DE060D2}" dt="2022-11-09T14:40:35.967" v="997" actId="14100"/>
          <ac:spMkLst>
            <pc:docMk/>
            <pc:sldMk cId="3746295820" sldId="2146846955"/>
            <ac:spMk id="15" creationId="{7B604EA4-2421-463E-A460-34CE3FEE28AB}"/>
          </ac:spMkLst>
        </pc:spChg>
        <pc:spChg chg="mod">
          <ac:chgData name="Steiner, Sonja (Ext)" userId="e93b931c-3084-4a52-96c3-8ad5f98bb528" providerId="ADAL" clId="{F864D6A4-9C8B-4765-BC7E-F1C21DE060D2}" dt="2022-11-09T14:40:35.967" v="997" actId="14100"/>
          <ac:spMkLst>
            <pc:docMk/>
            <pc:sldMk cId="3746295820" sldId="2146846955"/>
            <ac:spMk id="16" creationId="{9195494D-09F5-459B-A67A-540E99B50D5F}"/>
          </ac:spMkLst>
        </pc:spChg>
        <pc:spChg chg="mod">
          <ac:chgData name="Steiner, Sonja (Ext)" userId="e93b931c-3084-4a52-96c3-8ad5f98bb528" providerId="ADAL" clId="{F864D6A4-9C8B-4765-BC7E-F1C21DE060D2}" dt="2022-11-09T14:40:35.967" v="997" actId="14100"/>
          <ac:spMkLst>
            <pc:docMk/>
            <pc:sldMk cId="3746295820" sldId="2146846955"/>
            <ac:spMk id="17" creationId="{E75053A8-20A1-488E-9B9B-ED2949174537}"/>
          </ac:spMkLst>
        </pc:spChg>
        <pc:spChg chg="add del mod modVis">
          <ac:chgData name="Steiner, Sonja (Ext)" userId="e93b931c-3084-4a52-96c3-8ad5f98bb528" providerId="ADAL" clId="{F864D6A4-9C8B-4765-BC7E-F1C21DE060D2}" dt="2022-11-09T13:56:59.391" v="306"/>
          <ac:spMkLst>
            <pc:docMk/>
            <pc:sldMk cId="3746295820" sldId="2146846955"/>
            <ac:spMk id="19" creationId="{D7A7A269-3331-40A9-90DC-E1DB8A469C0F}"/>
          </ac:spMkLst>
        </pc:spChg>
        <pc:spChg chg="add del mod modVis">
          <ac:chgData name="Steiner, Sonja (Ext)" userId="e93b931c-3084-4a52-96c3-8ad5f98bb528" providerId="ADAL" clId="{F864D6A4-9C8B-4765-BC7E-F1C21DE060D2}" dt="2022-11-09T13:57:01.462" v="358"/>
          <ac:spMkLst>
            <pc:docMk/>
            <pc:sldMk cId="3746295820" sldId="2146846955"/>
            <ac:spMk id="20" creationId="{B2211325-0D72-43E3-B834-00F299908739}"/>
          </ac:spMkLst>
        </pc:spChg>
        <pc:spChg chg="add mod">
          <ac:chgData name="Steiner, Sonja (Ext)" userId="e93b931c-3084-4a52-96c3-8ad5f98bb528" providerId="ADAL" clId="{F864D6A4-9C8B-4765-BC7E-F1C21DE060D2}" dt="2022-11-09T14:40:35.967" v="997" actId="14100"/>
          <ac:spMkLst>
            <pc:docMk/>
            <pc:sldMk cId="3746295820" sldId="2146846955"/>
            <ac:spMk id="24" creationId="{1B7AC8A5-DEB2-47D2-981E-A4F1742D12B8}"/>
          </ac:spMkLst>
        </pc:spChg>
        <pc:spChg chg="add mod">
          <ac:chgData name="Steiner, Sonja (Ext)" userId="e93b931c-3084-4a52-96c3-8ad5f98bb528" providerId="ADAL" clId="{F864D6A4-9C8B-4765-BC7E-F1C21DE060D2}" dt="2022-11-09T14:05:39.206" v="511" actId="552"/>
          <ac:spMkLst>
            <pc:docMk/>
            <pc:sldMk cId="3746295820" sldId="2146846955"/>
            <ac:spMk id="26" creationId="{C25A941F-8E96-4EF1-8348-32D924D1DCB9}"/>
          </ac:spMkLst>
        </pc:spChg>
        <pc:graphicFrameChg chg="add mod ord modVis replST">
          <ac:chgData name="Steiner, Sonja (Ext)" userId="e93b931c-3084-4a52-96c3-8ad5f98bb528" providerId="ADAL" clId="{F864D6A4-9C8B-4765-BC7E-F1C21DE060D2}" dt="2022-11-09T13:57:01.467" v="360"/>
          <ac:graphicFrameMkLst>
            <pc:docMk/>
            <pc:sldMk cId="3746295820" sldId="2146846955"/>
            <ac:graphicFrameMk id="18" creationId="{28E8D9F9-99BF-4E87-A868-445383D1D973}"/>
          </ac:graphicFrameMkLst>
        </pc:graphicFrameChg>
        <pc:picChg chg="add mod">
          <ac:chgData name="Steiner, Sonja (Ext)" userId="e93b931c-3084-4a52-96c3-8ad5f98bb528" providerId="ADAL" clId="{F864D6A4-9C8B-4765-BC7E-F1C21DE060D2}" dt="2022-11-09T14:00:04.217" v="388" actId="1076"/>
          <ac:picMkLst>
            <pc:docMk/>
            <pc:sldMk cId="3746295820" sldId="2146846955"/>
            <ac:picMk id="7" creationId="{A0FC32AF-FA4B-4D8B-89D0-A580B6DAD0F0}"/>
          </ac:picMkLst>
        </pc:picChg>
        <pc:picChg chg="mod">
          <ac:chgData name="Steiner, Sonja (Ext)" userId="e93b931c-3084-4a52-96c3-8ad5f98bb528" providerId="ADAL" clId="{F864D6A4-9C8B-4765-BC7E-F1C21DE060D2}" dt="2022-11-09T13:56:54.066" v="148" actId="1076"/>
          <ac:picMkLst>
            <pc:docMk/>
            <pc:sldMk cId="3746295820" sldId="2146846955"/>
            <ac:picMk id="11" creationId="{F9EDE4B2-681D-4AAB-93AA-7CB9117F1EE6}"/>
          </ac:picMkLst>
        </pc:picChg>
        <pc:picChg chg="add mod">
          <ac:chgData name="Steiner, Sonja (Ext)" userId="e93b931c-3084-4a52-96c3-8ad5f98bb528" providerId="ADAL" clId="{F864D6A4-9C8B-4765-BC7E-F1C21DE060D2}" dt="2022-11-09T14:00:10.691" v="391" actId="1076"/>
          <ac:picMkLst>
            <pc:docMk/>
            <pc:sldMk cId="3746295820" sldId="2146846955"/>
            <ac:picMk id="1026" creationId="{9F901116-801D-4DBD-A03B-DBFCF4866088}"/>
          </ac:picMkLst>
        </pc:picChg>
        <pc:picChg chg="add mod">
          <ac:chgData name="Steiner, Sonja (Ext)" userId="e93b931c-3084-4a52-96c3-8ad5f98bb528" providerId="ADAL" clId="{F864D6A4-9C8B-4765-BC7E-F1C21DE060D2}" dt="2022-11-09T14:00:08.122" v="390" actId="1076"/>
          <ac:picMkLst>
            <pc:docMk/>
            <pc:sldMk cId="3746295820" sldId="2146846955"/>
            <ac:picMk id="1027" creationId="{2B854C3F-92E1-4EFF-BAC4-F5D1E408A8E2}"/>
          </ac:picMkLst>
        </pc:picChg>
        <pc:picChg chg="add mod">
          <ac:chgData name="Steiner, Sonja (Ext)" userId="e93b931c-3084-4a52-96c3-8ad5f98bb528" providerId="ADAL" clId="{F864D6A4-9C8B-4765-BC7E-F1C21DE060D2}" dt="2022-11-09T14:00:06.189" v="389" actId="1076"/>
          <ac:picMkLst>
            <pc:docMk/>
            <pc:sldMk cId="3746295820" sldId="2146846955"/>
            <ac:picMk id="1028" creationId="{BE1076A7-916A-4DCF-B76B-06B462CAAF43}"/>
          </ac:picMkLst>
        </pc:picChg>
      </pc:sldChg>
      <pc:sldChg chg="addSp delSp modSp mod modTransition">
        <pc:chgData name="Steiner, Sonja (Ext)" userId="e93b931c-3084-4a52-96c3-8ad5f98bb528" providerId="ADAL" clId="{F864D6A4-9C8B-4765-BC7E-F1C21DE060D2}" dt="2022-11-09T14:31:17.657" v="962" actId="1076"/>
        <pc:sldMkLst>
          <pc:docMk/>
          <pc:sldMk cId="3687265933" sldId="2146846956"/>
        </pc:sldMkLst>
        <pc:spChg chg="add del mod modVis">
          <ac:chgData name="Steiner, Sonja (Ext)" userId="e93b931c-3084-4a52-96c3-8ad5f98bb528" providerId="ADAL" clId="{F864D6A4-9C8B-4765-BC7E-F1C21DE060D2}" dt="2022-11-09T14:20:39.686" v="567"/>
          <ac:spMkLst>
            <pc:docMk/>
            <pc:sldMk cId="3687265933" sldId="2146846956"/>
            <ac:spMk id="7" creationId="{B36A0520-1F4F-46E8-A312-5313FE879162}"/>
          </ac:spMkLst>
        </pc:spChg>
        <pc:spChg chg="mod">
          <ac:chgData name="Steiner, Sonja (Ext)" userId="e93b931c-3084-4a52-96c3-8ad5f98bb528" providerId="ADAL" clId="{F864D6A4-9C8B-4765-BC7E-F1C21DE060D2}" dt="2022-11-09T14:20:39.599" v="527" actId="948"/>
          <ac:spMkLst>
            <pc:docMk/>
            <pc:sldMk cId="3687265933" sldId="2146846956"/>
            <ac:spMk id="9" creationId="{0734E06D-272A-43A5-9218-92F555097955}"/>
          </ac:spMkLst>
        </pc:spChg>
        <pc:spChg chg="mod">
          <ac:chgData name="Steiner, Sonja (Ext)" userId="e93b931c-3084-4a52-96c3-8ad5f98bb528" providerId="ADAL" clId="{F864D6A4-9C8B-4765-BC7E-F1C21DE060D2}" dt="2022-11-09T14:22:37.970" v="648" actId="1076"/>
          <ac:spMkLst>
            <pc:docMk/>
            <pc:sldMk cId="3687265933" sldId="2146846956"/>
            <ac:spMk id="12" creationId="{06D4ACA0-8351-4BC3-B3F4-2AA62A63FD9B}"/>
          </ac:spMkLst>
        </pc:spChg>
        <pc:spChg chg="mod">
          <ac:chgData name="Steiner, Sonja (Ext)" userId="e93b931c-3084-4a52-96c3-8ad5f98bb528" providerId="ADAL" clId="{F864D6A4-9C8B-4765-BC7E-F1C21DE060D2}" dt="2022-11-09T14:22:37.970" v="648" actId="1076"/>
          <ac:spMkLst>
            <pc:docMk/>
            <pc:sldMk cId="3687265933" sldId="2146846956"/>
            <ac:spMk id="14" creationId="{EE828BAF-8E20-4D78-9E34-352BF63D18A2}"/>
          </ac:spMkLst>
        </pc:spChg>
        <pc:spChg chg="mod">
          <ac:chgData name="Steiner, Sonja (Ext)" userId="e93b931c-3084-4a52-96c3-8ad5f98bb528" providerId="ADAL" clId="{F864D6A4-9C8B-4765-BC7E-F1C21DE060D2}" dt="2022-11-09T14:31:07.781" v="959" actId="14100"/>
          <ac:spMkLst>
            <pc:docMk/>
            <pc:sldMk cId="3687265933" sldId="2146846956"/>
            <ac:spMk id="15" creationId="{7B604EA4-2421-463E-A460-34CE3FEE28AB}"/>
          </ac:spMkLst>
        </pc:spChg>
        <pc:spChg chg="add mod">
          <ac:chgData name="Steiner, Sonja (Ext)" userId="e93b931c-3084-4a52-96c3-8ad5f98bb528" providerId="ADAL" clId="{F864D6A4-9C8B-4765-BC7E-F1C21DE060D2}" dt="2022-11-09T14:21:03.966" v="632" actId="14100"/>
          <ac:spMkLst>
            <pc:docMk/>
            <pc:sldMk cId="3687265933" sldId="2146846956"/>
            <ac:spMk id="16" creationId="{7A1DA85A-7287-4EA0-A55F-3373238493CB}"/>
          </ac:spMkLst>
        </pc:spChg>
        <pc:spChg chg="mod">
          <ac:chgData name="Steiner, Sonja (Ext)" userId="e93b931c-3084-4a52-96c3-8ad5f98bb528" providerId="ADAL" clId="{F864D6A4-9C8B-4765-BC7E-F1C21DE060D2}" dt="2022-11-09T14:31:00.144" v="957" actId="14100"/>
          <ac:spMkLst>
            <pc:docMk/>
            <pc:sldMk cId="3687265933" sldId="2146846956"/>
            <ac:spMk id="17" creationId="{E75053A8-20A1-488E-9B9B-ED2949174537}"/>
          </ac:spMkLst>
        </pc:spChg>
        <pc:spChg chg="mod">
          <ac:chgData name="Steiner, Sonja (Ext)" userId="e93b931c-3084-4a52-96c3-8ad5f98bb528" providerId="ADAL" clId="{F864D6A4-9C8B-4765-BC7E-F1C21DE060D2}" dt="2022-11-09T14:31:13.910" v="961" actId="14100"/>
          <ac:spMkLst>
            <pc:docMk/>
            <pc:sldMk cId="3687265933" sldId="2146846956"/>
            <ac:spMk id="18" creationId="{94A536DC-8420-4192-B1ED-776EF51EF3C4}"/>
          </ac:spMkLst>
        </pc:spChg>
        <pc:spChg chg="mod">
          <ac:chgData name="Steiner, Sonja (Ext)" userId="e93b931c-3084-4a52-96c3-8ad5f98bb528" providerId="ADAL" clId="{F864D6A4-9C8B-4765-BC7E-F1C21DE060D2}" dt="2022-11-09T14:31:17.657" v="962" actId="1076"/>
          <ac:spMkLst>
            <pc:docMk/>
            <pc:sldMk cId="3687265933" sldId="2146846956"/>
            <ac:spMk id="19" creationId="{2B3D06F5-9B2B-4B0F-AEAF-DC12B75547AD}"/>
          </ac:spMkLst>
        </pc:spChg>
        <pc:graphicFrameChg chg="add mod ord modVis replST">
          <ac:chgData name="Steiner, Sonja (Ext)" userId="e93b931c-3084-4a52-96c3-8ad5f98bb528" providerId="ADAL" clId="{F864D6A4-9C8B-4765-BC7E-F1C21DE060D2}" dt="2022-11-09T14:20:39.743" v="583"/>
          <ac:graphicFrameMkLst>
            <pc:docMk/>
            <pc:sldMk cId="3687265933" sldId="2146846956"/>
            <ac:graphicFrameMk id="8" creationId="{236FB909-FD4A-4315-9CA0-866E778572C4}"/>
          </ac:graphicFrameMkLst>
        </pc:graphicFrameChg>
        <pc:picChg chg="mod">
          <ac:chgData name="Steiner, Sonja (Ext)" userId="e93b931c-3084-4a52-96c3-8ad5f98bb528" providerId="ADAL" clId="{F864D6A4-9C8B-4765-BC7E-F1C21DE060D2}" dt="2022-11-09T14:22:37.970" v="648" actId="1076"/>
          <ac:picMkLst>
            <pc:docMk/>
            <pc:sldMk cId="3687265933" sldId="2146846956"/>
            <ac:picMk id="5" creationId="{DC48EC0B-FD7C-4FB1-AE48-DDC29BD6F26E}"/>
          </ac:picMkLst>
        </pc:picChg>
        <pc:picChg chg="add mod">
          <ac:chgData name="Steiner, Sonja (Ext)" userId="e93b931c-3084-4a52-96c3-8ad5f98bb528" providerId="ADAL" clId="{F864D6A4-9C8B-4765-BC7E-F1C21DE060D2}" dt="2022-11-09T14:20:24.515" v="522" actId="14100"/>
          <ac:picMkLst>
            <pc:docMk/>
            <pc:sldMk cId="3687265933" sldId="2146846956"/>
            <ac:picMk id="6" creationId="{88CD7F9B-1DE8-4BDF-8D60-86880846EB8A}"/>
          </ac:picMkLst>
        </pc:picChg>
      </pc:sldChg>
      <pc:sldChg chg="addSp delSp modSp mod modTransition">
        <pc:chgData name="Steiner, Sonja (Ext)" userId="e93b931c-3084-4a52-96c3-8ad5f98bb528" providerId="ADAL" clId="{F864D6A4-9C8B-4765-BC7E-F1C21DE060D2}" dt="2022-11-09T14:30:21.630" v="954" actId="1076"/>
        <pc:sldMkLst>
          <pc:docMk/>
          <pc:sldMk cId="3740324287" sldId="2146846957"/>
        </pc:sldMkLst>
        <pc:spChg chg="add del mod modVis">
          <ac:chgData name="Steiner, Sonja (Ext)" userId="e93b931c-3084-4a52-96c3-8ad5f98bb528" providerId="ADAL" clId="{F864D6A4-9C8B-4765-BC7E-F1C21DE060D2}" dt="2022-11-09T14:23:27.883" v="693"/>
          <ac:spMkLst>
            <pc:docMk/>
            <pc:sldMk cId="3740324287" sldId="2146846957"/>
            <ac:spMk id="4" creationId="{93C69F8C-EE3F-44E1-935E-E2227CA084D6}"/>
          </ac:spMkLst>
        </pc:spChg>
        <pc:spChg chg="add del mod modVis">
          <ac:chgData name="Steiner, Sonja (Ext)" userId="e93b931c-3084-4a52-96c3-8ad5f98bb528" providerId="ADAL" clId="{F864D6A4-9C8B-4765-BC7E-F1C21DE060D2}" dt="2022-11-09T14:23:31.903" v="751"/>
          <ac:spMkLst>
            <pc:docMk/>
            <pc:sldMk cId="3740324287" sldId="2146846957"/>
            <ac:spMk id="7" creationId="{5C7EEFBE-CD14-4A5C-95B2-F766C3651E0F}"/>
          </ac:spMkLst>
        </pc:spChg>
        <pc:spChg chg="add del mod modVis">
          <ac:chgData name="Steiner, Sonja (Ext)" userId="e93b931c-3084-4a52-96c3-8ad5f98bb528" providerId="ADAL" clId="{F864D6A4-9C8B-4765-BC7E-F1C21DE060D2}" dt="2022-11-09T14:23:32.936" v="795"/>
          <ac:spMkLst>
            <pc:docMk/>
            <pc:sldMk cId="3740324287" sldId="2146846957"/>
            <ac:spMk id="8" creationId="{700EE5FC-4705-4ECD-A0A4-B017B37359AE}"/>
          </ac:spMkLst>
        </pc:spChg>
        <pc:spChg chg="mod">
          <ac:chgData name="Steiner, Sonja (Ext)" userId="e93b931c-3084-4a52-96c3-8ad5f98bb528" providerId="ADAL" clId="{F864D6A4-9C8B-4765-BC7E-F1C21DE060D2}" dt="2022-11-09T14:23:36.292" v="844" actId="948"/>
          <ac:spMkLst>
            <pc:docMk/>
            <pc:sldMk cId="3740324287" sldId="2146846957"/>
            <ac:spMk id="9" creationId="{0734E06D-272A-43A5-9218-92F555097955}"/>
          </ac:spMkLst>
        </pc:spChg>
        <pc:spChg chg="add del mod modVis">
          <ac:chgData name="Steiner, Sonja (Ext)" userId="e93b931c-3084-4a52-96c3-8ad5f98bb528" providerId="ADAL" clId="{F864D6A4-9C8B-4765-BC7E-F1C21DE060D2}" dt="2022-11-09T14:23:33.531" v="839"/>
          <ac:spMkLst>
            <pc:docMk/>
            <pc:sldMk cId="3740324287" sldId="2146846957"/>
            <ac:spMk id="10" creationId="{6EDA0CA5-E0C5-4620-ACA2-88105083C5D3}"/>
          </ac:spMkLst>
        </pc:spChg>
        <pc:spChg chg="add del mod modVis">
          <ac:chgData name="Steiner, Sonja (Ext)" userId="e93b931c-3084-4a52-96c3-8ad5f98bb528" providerId="ADAL" clId="{F864D6A4-9C8B-4765-BC7E-F1C21DE060D2}" dt="2022-11-09T14:23:36.376" v="884"/>
          <ac:spMkLst>
            <pc:docMk/>
            <pc:sldMk cId="3740324287" sldId="2146846957"/>
            <ac:spMk id="11" creationId="{9750208C-CADE-4FDD-8D07-DB1CAE3D395B}"/>
          </ac:spMkLst>
        </pc:spChg>
        <pc:spChg chg="mod">
          <ac:chgData name="Steiner, Sonja (Ext)" userId="e93b931c-3084-4a52-96c3-8ad5f98bb528" providerId="ADAL" clId="{F864D6A4-9C8B-4765-BC7E-F1C21DE060D2}" dt="2022-11-09T14:29:58.756" v="951" actId="404"/>
          <ac:spMkLst>
            <pc:docMk/>
            <pc:sldMk cId="3740324287" sldId="2146846957"/>
            <ac:spMk id="12" creationId="{06D4ACA0-8351-4BC3-B3F4-2AA62A63FD9B}"/>
          </ac:spMkLst>
        </pc:spChg>
        <pc:spChg chg="mod">
          <ac:chgData name="Steiner, Sonja (Ext)" userId="e93b931c-3084-4a52-96c3-8ad5f98bb528" providerId="ADAL" clId="{F864D6A4-9C8B-4765-BC7E-F1C21DE060D2}" dt="2022-11-09T14:30:13.774" v="953" actId="1076"/>
          <ac:spMkLst>
            <pc:docMk/>
            <pc:sldMk cId="3740324287" sldId="2146846957"/>
            <ac:spMk id="14" creationId="{EE828BAF-8E20-4D78-9E34-352BF63D18A2}"/>
          </ac:spMkLst>
        </pc:spChg>
        <pc:spChg chg="mod">
          <ac:chgData name="Steiner, Sonja (Ext)" userId="e93b931c-3084-4a52-96c3-8ad5f98bb528" providerId="ADAL" clId="{F864D6A4-9C8B-4765-BC7E-F1C21DE060D2}" dt="2022-11-09T14:28:07.676" v="916" actId="14100"/>
          <ac:spMkLst>
            <pc:docMk/>
            <pc:sldMk cId="3740324287" sldId="2146846957"/>
            <ac:spMk id="15" creationId="{7B604EA4-2421-463E-A460-34CE3FEE28AB}"/>
          </ac:spMkLst>
        </pc:spChg>
        <pc:spChg chg="add mod">
          <ac:chgData name="Steiner, Sonja (Ext)" userId="e93b931c-3084-4a52-96c3-8ad5f98bb528" providerId="ADAL" clId="{F864D6A4-9C8B-4765-BC7E-F1C21DE060D2}" dt="2022-11-09T14:24:09.014" v="906" actId="14100"/>
          <ac:spMkLst>
            <pc:docMk/>
            <pc:sldMk cId="3740324287" sldId="2146846957"/>
            <ac:spMk id="16" creationId="{F32446E2-9A07-4CC1-9652-81C55D5A7D25}"/>
          </ac:spMkLst>
        </pc:spChg>
        <pc:spChg chg="mod">
          <ac:chgData name="Steiner, Sonja (Ext)" userId="e93b931c-3084-4a52-96c3-8ad5f98bb528" providerId="ADAL" clId="{F864D6A4-9C8B-4765-BC7E-F1C21DE060D2}" dt="2022-11-09T14:29:30.680" v="943" actId="14100"/>
          <ac:spMkLst>
            <pc:docMk/>
            <pc:sldMk cId="3740324287" sldId="2146846957"/>
            <ac:spMk id="17" creationId="{E75053A8-20A1-488E-9B9B-ED2949174537}"/>
          </ac:spMkLst>
        </pc:spChg>
        <pc:spChg chg="mod">
          <ac:chgData name="Steiner, Sonja (Ext)" userId="e93b931c-3084-4a52-96c3-8ad5f98bb528" providerId="ADAL" clId="{F864D6A4-9C8B-4765-BC7E-F1C21DE060D2}" dt="2022-11-09T14:29:34.193" v="944" actId="14100"/>
          <ac:spMkLst>
            <pc:docMk/>
            <pc:sldMk cId="3740324287" sldId="2146846957"/>
            <ac:spMk id="18" creationId="{94A536DC-8420-4192-B1ED-776EF51EF3C4}"/>
          </ac:spMkLst>
        </pc:spChg>
        <pc:spChg chg="mod">
          <ac:chgData name="Steiner, Sonja (Ext)" userId="e93b931c-3084-4a52-96c3-8ad5f98bb528" providerId="ADAL" clId="{F864D6A4-9C8B-4765-BC7E-F1C21DE060D2}" dt="2022-11-09T14:30:21.630" v="954" actId="1076"/>
          <ac:spMkLst>
            <pc:docMk/>
            <pc:sldMk cId="3740324287" sldId="2146846957"/>
            <ac:spMk id="19" creationId="{2B3D06F5-9B2B-4B0F-AEAF-DC12B75547AD}"/>
          </ac:spMkLst>
        </pc:spChg>
        <pc:spChg chg="add mod">
          <ac:chgData name="Steiner, Sonja (Ext)" userId="e93b931c-3084-4a52-96c3-8ad5f98bb528" providerId="ADAL" clId="{F864D6A4-9C8B-4765-BC7E-F1C21DE060D2}" dt="2022-11-09T14:30:04.501" v="952" actId="1076"/>
          <ac:spMkLst>
            <pc:docMk/>
            <pc:sldMk cId="3740324287" sldId="2146846957"/>
            <ac:spMk id="23" creationId="{C6C4DBA0-40B5-48F3-B2FD-3F1E077F8225}"/>
          </ac:spMkLst>
        </pc:spChg>
        <pc:spChg chg="add mod">
          <ac:chgData name="Steiner, Sonja (Ext)" userId="e93b931c-3084-4a52-96c3-8ad5f98bb528" providerId="ADAL" clId="{F864D6A4-9C8B-4765-BC7E-F1C21DE060D2}" dt="2022-11-09T14:28:29.555" v="924" actId="1076"/>
          <ac:spMkLst>
            <pc:docMk/>
            <pc:sldMk cId="3740324287" sldId="2146846957"/>
            <ac:spMk id="24" creationId="{DE3C1482-213A-475E-A47D-400C46A0C0A5}"/>
          </ac:spMkLst>
        </pc:spChg>
        <pc:graphicFrameChg chg="add mod ord modVis replST">
          <ac:chgData name="Steiner, Sonja (Ext)" userId="e93b931c-3084-4a52-96c3-8ad5f98bb528" providerId="ADAL" clId="{F864D6A4-9C8B-4765-BC7E-F1C21DE060D2}" dt="2022-11-09T14:23:36.382" v="886"/>
          <ac:graphicFrameMkLst>
            <pc:docMk/>
            <pc:sldMk cId="3740324287" sldId="2146846957"/>
            <ac:graphicFrameMk id="5" creationId="{D755F625-EF57-4E7F-87FB-6AFE5F826DCF}"/>
          </ac:graphicFrameMkLst>
        </pc:graphicFrameChg>
        <pc:picChg chg="add del mod">
          <ac:chgData name="Steiner, Sonja (Ext)" userId="e93b931c-3084-4a52-96c3-8ad5f98bb528" providerId="ADAL" clId="{F864D6A4-9C8B-4765-BC7E-F1C21DE060D2}" dt="2022-11-09T14:24:12.581" v="907" actId="478"/>
          <ac:picMkLst>
            <pc:docMk/>
            <pc:sldMk cId="3740324287" sldId="2146846957"/>
            <ac:picMk id="13" creationId="{EF620EA4-CA92-4313-9B5C-815E68BD07C3}"/>
          </ac:picMkLst>
        </pc:picChg>
        <pc:picChg chg="add mod">
          <ac:chgData name="Steiner, Sonja (Ext)" userId="e93b931c-3084-4a52-96c3-8ad5f98bb528" providerId="ADAL" clId="{F864D6A4-9C8B-4765-BC7E-F1C21DE060D2}" dt="2022-11-09T14:24:29.587" v="914" actId="1076"/>
          <ac:picMkLst>
            <pc:docMk/>
            <pc:sldMk cId="3740324287" sldId="2146846957"/>
            <ac:picMk id="21" creationId="{F5F4FAE3-7D60-45BF-BF61-44857D103F8D}"/>
          </ac:picMkLst>
        </pc:picChg>
      </pc:sldChg>
      <pc:sldMasterChg chg="addSp delSp modSp mod">
        <pc:chgData name="Steiner, Sonja (Ext)" userId="e93b931c-3084-4a52-96c3-8ad5f98bb528" providerId="ADAL" clId="{F864D6A4-9C8B-4765-BC7E-F1C21DE060D2}" dt="2022-11-09T13:56:58.732" v="246"/>
        <pc:sldMasterMkLst>
          <pc:docMk/>
          <pc:sldMasterMk cId="2715475275" sldId="2147483660"/>
        </pc:sldMasterMkLst>
        <pc:spChg chg="mod">
          <ac:chgData name="Steiner, Sonja (Ext)" userId="e93b931c-3084-4a52-96c3-8ad5f98bb528" providerId="ADAL" clId="{F864D6A4-9C8B-4765-BC7E-F1C21DE060D2}" dt="2022-11-09T13:56:58.513" v="152" actId="948"/>
          <ac:spMkLst>
            <pc:docMk/>
            <pc:sldMasterMk cId="2715475275" sldId="2147483660"/>
            <ac:spMk id="2" creationId="{E9F95A77-E929-481C-BA11-9F14E039BE89}"/>
          </ac:spMkLst>
        </pc:spChg>
        <pc:spChg chg="add del mod modVis">
          <ac:chgData name="Steiner, Sonja (Ext)" userId="e93b931c-3084-4a52-96c3-8ad5f98bb528" providerId="ADAL" clId="{F864D6A4-9C8B-4765-BC7E-F1C21DE060D2}" dt="2022-11-09T13:56:58.645" v="230"/>
          <ac:spMkLst>
            <pc:docMk/>
            <pc:sldMasterMk cId="2715475275" sldId="2147483660"/>
            <ac:spMk id="7" creationId="{158A45AD-7593-4403-930A-AA790200EF12}"/>
          </ac:spMkLst>
        </pc:spChg>
        <pc:graphicFrameChg chg="add mod ord modVis replST">
          <ac:chgData name="Steiner, Sonja (Ext)" userId="e93b931c-3084-4a52-96c3-8ad5f98bb528" providerId="ADAL" clId="{F864D6A4-9C8B-4765-BC7E-F1C21DE060D2}" dt="2022-11-09T13:56:58.732" v="246"/>
          <ac:graphicFrameMkLst>
            <pc:docMk/>
            <pc:sldMasterMk cId="2715475275" sldId="2147483660"/>
            <ac:graphicFrameMk id="8" creationId="{D68FB2DE-8CC9-4886-A59A-C896A3177989}"/>
          </ac:graphicFrameMkLst>
        </pc:graphicFrameChg>
      </pc:sldMaster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png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10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svg"/><Relationship Id="rId5" Type="http://schemas.openxmlformats.org/officeDocument/2006/relationships/image" Target="../media/image8.png"/><Relationship Id="rId4" Type="http://schemas.openxmlformats.org/officeDocument/2006/relationships/image" Target="../media/image1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4B51B5AD-604D-4DE9-A3CE-90D66753CB6A}"/>
              </a:ext>
            </a:extLst>
          </p:cNvPr>
          <p:cNvPicPr>
            <a:picLocks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2" b="186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icture 4" descr="A picture containing drawing&#10;&#10;Description automatically generated">
            <a:extLst>
              <a:ext uri="{FF2B5EF4-FFF2-40B4-BE49-F238E27FC236}">
                <a16:creationId xmlns:a16="http://schemas.microsoft.com/office/drawing/2014/main" id="{9EA34C3E-6D9D-A34E-90BE-73F72F818A7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BE583EB-6EB9-460E-8BC6-14877DB018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5450" y="2870200"/>
            <a:ext cx="8630184" cy="713762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Enter title her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1F22922-760F-48F6-861F-5CFB7B28046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25450" y="4095583"/>
            <a:ext cx="5491648" cy="365125"/>
          </a:xfrm>
        </p:spPr>
        <p:txBody>
          <a:bodyPr anchor="t"/>
          <a:lstStyle>
            <a:lvl1pPr algn="l">
              <a:defRPr sz="2000" b="0"/>
            </a:lvl1pPr>
          </a:lstStyle>
          <a:p>
            <a:fld id="{0E4A7B95-0D2B-4374-A11F-920C3FA5D51B}" type="datetimeFigureOut">
              <a:rPr lang="en-GB" smtClean="0"/>
              <a:pPr/>
              <a:t>09/11/2022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A73B4E5-8282-4FE0-B8A5-0593CDC7CF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5449" y="3586683"/>
            <a:ext cx="8630184" cy="365125"/>
          </a:xfrm>
        </p:spPr>
        <p:txBody>
          <a:bodyPr/>
          <a:lstStyle>
            <a:lvl1pPr>
              <a:defRPr sz="28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nter host name here</a:t>
            </a:r>
            <a:endParaRPr lang="en-GB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0E92E618-D1AA-A74B-81E3-8E0C831E7D66}"/>
              </a:ext>
            </a:extLst>
          </p:cNvPr>
          <p:cNvGrpSpPr/>
          <p:nvPr userDrawn="1"/>
        </p:nvGrpSpPr>
        <p:grpSpPr>
          <a:xfrm>
            <a:off x="903411" y="445100"/>
            <a:ext cx="1980000" cy="1980000"/>
            <a:chOff x="903411" y="445100"/>
            <a:chExt cx="1980000" cy="1980000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A94FF134-C31A-8645-AD67-6A37DA49E5B1}"/>
                </a:ext>
              </a:extLst>
            </p:cNvPr>
            <p:cNvSpPr/>
            <p:nvPr userDrawn="1"/>
          </p:nvSpPr>
          <p:spPr>
            <a:xfrm>
              <a:off x="903411" y="445100"/>
              <a:ext cx="1980000" cy="1980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endParaRPr lang="en-US" sz="2000" dirty="0"/>
            </a:p>
          </p:txBody>
        </p:sp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F8482341-7A78-405D-8C33-0DA05C0824E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21273" t="-6086" r="19089" b="39740"/>
            <a:stretch/>
          </p:blipFill>
          <p:spPr>
            <a:xfrm>
              <a:off x="957411" y="879012"/>
              <a:ext cx="1872000" cy="990748"/>
            </a:xfrm>
            <a:prstGeom prst="rect">
              <a:avLst/>
            </a:prstGeom>
          </p:spPr>
        </p:pic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7BA7AE32-0252-42C2-A4D7-CC53819FDBF4}"/>
              </a:ext>
            </a:extLst>
          </p:cNvPr>
          <p:cNvSpPr txBox="1">
            <a:spLocks/>
          </p:cNvSpPr>
          <p:nvPr userDrawn="1"/>
        </p:nvSpPr>
        <p:spPr>
          <a:xfrm>
            <a:off x="383168" y="6551551"/>
            <a:ext cx="411395" cy="137602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l">
              <a:lnSpc>
                <a:spcPct val="90000"/>
              </a:lnSpc>
              <a:spcAft>
                <a:spcPts val="600"/>
              </a:spcAft>
            </a:pPr>
            <a:r>
              <a:rPr lang="en-GB" sz="600" spc="0" baseline="0"/>
              <a:t>This project has received funding from the European Union’s Horizon 2020  research and innovation programme under grant agreement No 853992.</a:t>
            </a:r>
          </a:p>
        </p:txBody>
      </p:sp>
      <p:pic>
        <p:nvPicPr>
          <p:cNvPr id="14" name="Picture 13" descr="A close up of a logo&#10;&#10;Description automatically generated">
            <a:extLst>
              <a:ext uri="{FF2B5EF4-FFF2-40B4-BE49-F238E27FC236}">
                <a16:creationId xmlns:a16="http://schemas.microsoft.com/office/drawing/2014/main" id="{DE4D2910-B3D3-9743-A88A-DAC78E0C8B8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877" y="6041877"/>
            <a:ext cx="1893075" cy="50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5117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765D5DF4-5200-4E60-9A74-84E698AC50FE}"/>
              </a:ext>
            </a:extLst>
          </p:cNvPr>
          <p:cNvPicPr>
            <a:picLocks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2" b="186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982F53E-39A7-4459-8A34-B0941C3CB3F4}"/>
              </a:ext>
            </a:extLst>
          </p:cNvPr>
          <p:cNvPicPr>
            <a:picLocks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2" b="186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2" name="Picture 11" descr="A picture containing drawing&#10;&#10;Description automatically generated">
            <a:extLst>
              <a:ext uri="{FF2B5EF4-FFF2-40B4-BE49-F238E27FC236}">
                <a16:creationId xmlns:a16="http://schemas.microsoft.com/office/drawing/2014/main" id="{2348C01E-4E11-F14F-B51F-C1F46CBED9B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4C0EDF97-D5AF-43D0-855A-821604F66FE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78251" y="5715523"/>
            <a:ext cx="1552649" cy="738639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45E8CA45-AB9B-4374-8F1A-D41D8A2B1E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5450" y="2870200"/>
            <a:ext cx="8630184" cy="713762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Enter title here</a:t>
            </a:r>
            <a:endParaRPr lang="en-GB"/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E39AF4E8-1275-4FF5-95DB-85186508C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5449" y="3586683"/>
            <a:ext cx="8630184" cy="365125"/>
          </a:xfrm>
        </p:spPr>
        <p:txBody>
          <a:bodyPr/>
          <a:lstStyle>
            <a:lvl1pPr>
              <a:defRPr sz="28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nter subtitle he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01103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/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8520A40A-5E7F-46D0-A722-F50C4379C66D}"/>
              </a:ext>
            </a:extLst>
          </p:cNvPr>
          <p:cNvPicPr>
            <a:picLocks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2" b="186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ABAE9F97-164E-4455-AFED-F21488962A7A}"/>
              </a:ext>
            </a:extLst>
          </p:cNvPr>
          <p:cNvSpPr/>
          <p:nvPr userDrawn="1"/>
        </p:nvSpPr>
        <p:spPr>
          <a:xfrm>
            <a:off x="-1" y="-1"/>
            <a:ext cx="12192088" cy="6858001"/>
          </a:xfrm>
          <a:custGeom>
            <a:avLst/>
            <a:gdLst>
              <a:gd name="connsiteX0" fmla="*/ 0 w 12192088"/>
              <a:gd name="connsiteY0" fmla="*/ 0 h 6858001"/>
              <a:gd name="connsiteX1" fmla="*/ 3962401 w 12192088"/>
              <a:gd name="connsiteY1" fmla="*/ 0 h 6858001"/>
              <a:gd name="connsiteX2" fmla="*/ 3962401 w 12192088"/>
              <a:gd name="connsiteY2" fmla="*/ 1 h 6858001"/>
              <a:gd name="connsiteX3" fmla="*/ 6278048 w 12192088"/>
              <a:gd name="connsiteY3" fmla="*/ 1 h 6858001"/>
              <a:gd name="connsiteX4" fmla="*/ 8573656 w 12192088"/>
              <a:gd name="connsiteY4" fmla="*/ 1 h 6858001"/>
              <a:gd name="connsiteX5" fmla="*/ 9750579 w 12192088"/>
              <a:gd name="connsiteY5" fmla="*/ 1 h 6858001"/>
              <a:gd name="connsiteX6" fmla="*/ 12192088 w 12192088"/>
              <a:gd name="connsiteY6" fmla="*/ 2441598 h 6858001"/>
              <a:gd name="connsiteX7" fmla="*/ 12191205 w 12192088"/>
              <a:gd name="connsiteY7" fmla="*/ 2507789 h 6858001"/>
              <a:gd name="connsiteX8" fmla="*/ 12192088 w 12192088"/>
              <a:gd name="connsiteY8" fmla="*/ 2507789 h 6858001"/>
              <a:gd name="connsiteX9" fmla="*/ 12192088 w 12192088"/>
              <a:gd name="connsiteY9" fmla="*/ 4772910 h 6858001"/>
              <a:gd name="connsiteX10" fmla="*/ 12192000 w 12192088"/>
              <a:gd name="connsiteY10" fmla="*/ 4772910 h 6858001"/>
              <a:gd name="connsiteX11" fmla="*/ 12192000 w 12192088"/>
              <a:gd name="connsiteY11" fmla="*/ 6858001 h 6858001"/>
              <a:gd name="connsiteX12" fmla="*/ 3962401 w 12192088"/>
              <a:gd name="connsiteY12" fmla="*/ 6858001 h 6858001"/>
              <a:gd name="connsiteX13" fmla="*/ 3781426 w 12192088"/>
              <a:gd name="connsiteY13" fmla="*/ 6858001 h 6858001"/>
              <a:gd name="connsiteX14" fmla="*/ 0 w 12192088"/>
              <a:gd name="connsiteY14" fmla="*/ 6858001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192088" h="6858001">
                <a:moveTo>
                  <a:pt x="0" y="0"/>
                </a:moveTo>
                <a:lnTo>
                  <a:pt x="3962401" y="0"/>
                </a:lnTo>
                <a:lnTo>
                  <a:pt x="3962401" y="1"/>
                </a:lnTo>
                <a:lnTo>
                  <a:pt x="6278048" y="1"/>
                </a:lnTo>
                <a:lnTo>
                  <a:pt x="8573656" y="1"/>
                </a:lnTo>
                <a:lnTo>
                  <a:pt x="9750579" y="1"/>
                </a:lnTo>
                <a:cubicBezTo>
                  <a:pt x="11098942" y="1"/>
                  <a:pt x="12192088" y="1093149"/>
                  <a:pt x="12192088" y="2441598"/>
                </a:cubicBezTo>
                <a:cubicBezTo>
                  <a:pt x="12192088" y="2463780"/>
                  <a:pt x="12191823" y="2485784"/>
                  <a:pt x="12191205" y="2507789"/>
                </a:cubicBezTo>
                <a:lnTo>
                  <a:pt x="12192088" y="2507789"/>
                </a:lnTo>
                <a:lnTo>
                  <a:pt x="12192088" y="4772910"/>
                </a:lnTo>
                <a:lnTo>
                  <a:pt x="12192000" y="4772910"/>
                </a:lnTo>
                <a:lnTo>
                  <a:pt x="12192000" y="6858001"/>
                </a:lnTo>
                <a:lnTo>
                  <a:pt x="3962401" y="6858001"/>
                </a:lnTo>
                <a:lnTo>
                  <a:pt x="3781426" y="6858001"/>
                </a:lnTo>
                <a:lnTo>
                  <a:pt x="0" y="6858001"/>
                </a:lnTo>
                <a:close/>
              </a:path>
            </a:pathLst>
          </a:custGeom>
          <a:solidFill>
            <a:srgbClr val="FFFFFF"/>
          </a:solidFill>
          <a:ln w="12704" cap="flat">
            <a:noFill/>
            <a:prstDash val="solid"/>
            <a:miter/>
          </a:ln>
          <a:effectLst>
            <a:outerShdw blurRad="127000" dist="38100" algn="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A42A734F-1D78-4879-95D0-1F70E849E92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1085617" y="6582153"/>
            <a:ext cx="425758" cy="166199"/>
          </a:xfrm>
        </p:spPr>
        <p:txBody>
          <a:bodyPr wrap="none" lIns="0" tIns="0" rIns="0" bIns="0" anchor="b">
            <a:spAutoFit/>
          </a:bodyPr>
          <a:lstStyle>
            <a:lvl1pPr algn="r">
              <a:lnSpc>
                <a:spcPct val="90000"/>
              </a:lnSpc>
              <a:defRPr sz="1200"/>
            </a:lvl1pPr>
          </a:lstStyle>
          <a:p>
            <a:pPr lvl="0"/>
            <a:r>
              <a:rPr lang="en-US"/>
              <a:t>Source</a:t>
            </a:r>
            <a:endParaRPr lang="en-GB"/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0BC6AE53-5C55-420D-A106-BC07F49740B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436" y="6582153"/>
            <a:ext cx="411395" cy="166199"/>
          </a:xfrm>
        </p:spPr>
        <p:txBody>
          <a:bodyPr wrap="none" lIns="0" tIns="0" rIns="0" bIns="0" anchor="b">
            <a:spAutoFit/>
          </a:bodyPr>
          <a:lstStyle>
            <a:lvl1pPr algn="l">
              <a:lnSpc>
                <a:spcPct val="90000"/>
              </a:lnSpc>
              <a:defRPr sz="1200"/>
            </a:lvl1pPr>
          </a:lstStyle>
          <a:p>
            <a:pPr lvl="0"/>
            <a:r>
              <a:rPr lang="en-US"/>
              <a:t>Footer</a:t>
            </a:r>
            <a:endParaRPr lang="en-GB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DD43505D-7E21-4FE5-832B-DE056A53BEF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30437" y="1439863"/>
            <a:ext cx="11285315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Ente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A7A57B43-EB02-4460-B115-D5FC87F5BB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b="42146"/>
          <a:stretch/>
        </p:blipFill>
        <p:spPr>
          <a:xfrm>
            <a:off x="11397299" y="6519863"/>
            <a:ext cx="866141" cy="238387"/>
          </a:xfrm>
          <a:prstGeom prst="rect">
            <a:avLst/>
          </a:prstGeom>
        </p:spPr>
      </p:pic>
      <p:sp>
        <p:nvSpPr>
          <p:cNvPr id="10" name="Title 4">
            <a:extLst>
              <a:ext uri="{FF2B5EF4-FFF2-40B4-BE49-F238E27FC236}">
                <a16:creationId xmlns:a16="http://schemas.microsoft.com/office/drawing/2014/main" id="{465A3336-BC49-4A3C-8DD7-6B418D24B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3707" y="380153"/>
            <a:ext cx="10373405" cy="93857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Enter title he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69404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/ 2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8520A40A-5E7F-46D0-A722-F50C4379C66D}"/>
              </a:ext>
            </a:extLst>
          </p:cNvPr>
          <p:cNvPicPr>
            <a:picLocks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2" b="186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ABAE9F97-164E-4455-AFED-F21488962A7A}"/>
              </a:ext>
            </a:extLst>
          </p:cNvPr>
          <p:cNvSpPr/>
          <p:nvPr userDrawn="1"/>
        </p:nvSpPr>
        <p:spPr>
          <a:xfrm>
            <a:off x="-1" y="-1"/>
            <a:ext cx="12192088" cy="6858001"/>
          </a:xfrm>
          <a:custGeom>
            <a:avLst/>
            <a:gdLst>
              <a:gd name="connsiteX0" fmla="*/ 0 w 12192088"/>
              <a:gd name="connsiteY0" fmla="*/ 0 h 6858001"/>
              <a:gd name="connsiteX1" fmla="*/ 3962401 w 12192088"/>
              <a:gd name="connsiteY1" fmla="*/ 0 h 6858001"/>
              <a:gd name="connsiteX2" fmla="*/ 3962401 w 12192088"/>
              <a:gd name="connsiteY2" fmla="*/ 1 h 6858001"/>
              <a:gd name="connsiteX3" fmla="*/ 6278048 w 12192088"/>
              <a:gd name="connsiteY3" fmla="*/ 1 h 6858001"/>
              <a:gd name="connsiteX4" fmla="*/ 8573656 w 12192088"/>
              <a:gd name="connsiteY4" fmla="*/ 1 h 6858001"/>
              <a:gd name="connsiteX5" fmla="*/ 9750579 w 12192088"/>
              <a:gd name="connsiteY5" fmla="*/ 1 h 6858001"/>
              <a:gd name="connsiteX6" fmla="*/ 12192088 w 12192088"/>
              <a:gd name="connsiteY6" fmla="*/ 2441598 h 6858001"/>
              <a:gd name="connsiteX7" fmla="*/ 12191205 w 12192088"/>
              <a:gd name="connsiteY7" fmla="*/ 2507789 h 6858001"/>
              <a:gd name="connsiteX8" fmla="*/ 12192088 w 12192088"/>
              <a:gd name="connsiteY8" fmla="*/ 2507789 h 6858001"/>
              <a:gd name="connsiteX9" fmla="*/ 12192088 w 12192088"/>
              <a:gd name="connsiteY9" fmla="*/ 4772910 h 6858001"/>
              <a:gd name="connsiteX10" fmla="*/ 12192000 w 12192088"/>
              <a:gd name="connsiteY10" fmla="*/ 4772910 h 6858001"/>
              <a:gd name="connsiteX11" fmla="*/ 12192000 w 12192088"/>
              <a:gd name="connsiteY11" fmla="*/ 6858001 h 6858001"/>
              <a:gd name="connsiteX12" fmla="*/ 3962401 w 12192088"/>
              <a:gd name="connsiteY12" fmla="*/ 6858001 h 6858001"/>
              <a:gd name="connsiteX13" fmla="*/ 3781426 w 12192088"/>
              <a:gd name="connsiteY13" fmla="*/ 6858001 h 6858001"/>
              <a:gd name="connsiteX14" fmla="*/ 0 w 12192088"/>
              <a:gd name="connsiteY14" fmla="*/ 6858001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192088" h="6858001">
                <a:moveTo>
                  <a:pt x="0" y="0"/>
                </a:moveTo>
                <a:lnTo>
                  <a:pt x="3962401" y="0"/>
                </a:lnTo>
                <a:lnTo>
                  <a:pt x="3962401" y="1"/>
                </a:lnTo>
                <a:lnTo>
                  <a:pt x="6278048" y="1"/>
                </a:lnTo>
                <a:lnTo>
                  <a:pt x="8573656" y="1"/>
                </a:lnTo>
                <a:lnTo>
                  <a:pt x="9750579" y="1"/>
                </a:lnTo>
                <a:cubicBezTo>
                  <a:pt x="11098942" y="1"/>
                  <a:pt x="12192088" y="1093149"/>
                  <a:pt x="12192088" y="2441598"/>
                </a:cubicBezTo>
                <a:cubicBezTo>
                  <a:pt x="12192088" y="2463780"/>
                  <a:pt x="12191823" y="2485784"/>
                  <a:pt x="12191205" y="2507789"/>
                </a:cubicBezTo>
                <a:lnTo>
                  <a:pt x="12192088" y="2507789"/>
                </a:lnTo>
                <a:lnTo>
                  <a:pt x="12192088" y="4772910"/>
                </a:lnTo>
                <a:lnTo>
                  <a:pt x="12192000" y="4772910"/>
                </a:lnTo>
                <a:lnTo>
                  <a:pt x="12192000" y="6858001"/>
                </a:lnTo>
                <a:lnTo>
                  <a:pt x="3962401" y="6858001"/>
                </a:lnTo>
                <a:lnTo>
                  <a:pt x="3781426" y="6858001"/>
                </a:lnTo>
                <a:lnTo>
                  <a:pt x="0" y="6858001"/>
                </a:lnTo>
                <a:close/>
              </a:path>
            </a:pathLst>
          </a:custGeom>
          <a:solidFill>
            <a:srgbClr val="FFFFFF"/>
          </a:solidFill>
          <a:ln w="12704" cap="flat">
            <a:noFill/>
            <a:prstDash val="solid"/>
            <a:miter/>
          </a:ln>
          <a:effectLst>
            <a:outerShdw blurRad="127000" dist="38100" algn="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0BC6AE53-5C55-420D-A106-BC07F49740B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3707" y="6582153"/>
            <a:ext cx="411395" cy="166199"/>
          </a:xfrm>
        </p:spPr>
        <p:txBody>
          <a:bodyPr wrap="none" lIns="0" tIns="0" rIns="0" bIns="0" anchor="b">
            <a:spAutoFit/>
          </a:bodyPr>
          <a:lstStyle>
            <a:lvl1pPr algn="l">
              <a:lnSpc>
                <a:spcPct val="90000"/>
              </a:lnSpc>
              <a:defRPr sz="1200"/>
            </a:lvl1pPr>
          </a:lstStyle>
          <a:p>
            <a:pPr lvl="0"/>
            <a:r>
              <a:rPr lang="en-US"/>
              <a:t>Footer</a:t>
            </a:r>
            <a:endParaRPr lang="en-GB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DD43505D-7E21-4FE5-832B-DE056A53BEF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33707" y="1439863"/>
            <a:ext cx="5580691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Ente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1E8997-9F2B-45AB-BA22-D127024790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3707" y="380153"/>
            <a:ext cx="10373405" cy="93857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Enter title here</a:t>
            </a:r>
            <a:endParaRPr lang="en-GB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DE4C1EB0-F6C6-433C-BD08-970378E1AA5F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134735" y="1439863"/>
            <a:ext cx="5580691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Ente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22">
            <a:extLst>
              <a:ext uri="{FF2B5EF4-FFF2-40B4-BE49-F238E27FC236}">
                <a16:creationId xmlns:a16="http://schemas.microsoft.com/office/drawing/2014/main" id="{3A35D941-1815-4F7F-8559-CBAA7D0DF94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1085617" y="6582153"/>
            <a:ext cx="425758" cy="166199"/>
          </a:xfrm>
        </p:spPr>
        <p:txBody>
          <a:bodyPr wrap="none" lIns="0" tIns="0" rIns="0" bIns="0" anchor="b">
            <a:spAutoFit/>
          </a:bodyPr>
          <a:lstStyle>
            <a:lvl1pPr algn="r">
              <a:lnSpc>
                <a:spcPct val="90000"/>
              </a:lnSpc>
              <a:defRPr sz="1200"/>
            </a:lvl1pPr>
          </a:lstStyle>
          <a:p>
            <a:pPr lvl="0"/>
            <a:r>
              <a:rPr lang="en-US"/>
              <a:t>Source</a:t>
            </a:r>
            <a:endParaRPr lang="en-GB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30D6A5AD-B201-4B5B-AE7D-F5875C0E89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b="42146"/>
          <a:stretch/>
        </p:blipFill>
        <p:spPr>
          <a:xfrm>
            <a:off x="11397299" y="6519863"/>
            <a:ext cx="866141" cy="238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3056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F26B43"/>
          </p15:clr>
        </p15:guide>
        <p15:guide id="2" pos="3797">
          <p15:clr>
            <a:srgbClr val="F26B43"/>
          </p15:clr>
        </p15:guide>
        <p15:guide id="3" pos="3882">
          <p15:clr>
            <a:srgbClr val="F26B43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2">
            <a:extLst>
              <a:ext uri="{FF2B5EF4-FFF2-40B4-BE49-F238E27FC236}">
                <a16:creationId xmlns:a16="http://schemas.microsoft.com/office/drawing/2014/main" id="{40440F00-DBB7-4075-9F8D-5B8D7FC2D1B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3705" y="6582152"/>
            <a:ext cx="411395" cy="166199"/>
          </a:xfrm>
        </p:spPr>
        <p:txBody>
          <a:bodyPr wrap="none" lIns="0" tIns="0" rIns="0" bIns="0" anchor="b">
            <a:spAutoFit/>
          </a:bodyPr>
          <a:lstStyle>
            <a:lvl1pPr algn="l">
              <a:lnSpc>
                <a:spcPct val="90000"/>
              </a:lnSpc>
              <a:defRPr sz="1200"/>
            </a:lvl1pPr>
          </a:lstStyle>
          <a:p>
            <a:pPr lvl="0"/>
            <a:r>
              <a:rPr lang="en-US"/>
              <a:t>Footer</a:t>
            </a:r>
            <a:endParaRPr lang="en-GB"/>
          </a:p>
        </p:txBody>
      </p:sp>
      <p:sp>
        <p:nvSpPr>
          <p:cNvPr id="11" name="Text Placeholder 22">
            <a:extLst>
              <a:ext uri="{FF2B5EF4-FFF2-40B4-BE49-F238E27FC236}">
                <a16:creationId xmlns:a16="http://schemas.microsoft.com/office/drawing/2014/main" id="{F87ACE01-F604-42C4-925C-7D731C77BFF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1062026" y="6582152"/>
            <a:ext cx="425758" cy="166199"/>
          </a:xfrm>
        </p:spPr>
        <p:txBody>
          <a:bodyPr wrap="none" lIns="0" tIns="0" rIns="0" bIns="0" anchor="b">
            <a:spAutoFit/>
          </a:bodyPr>
          <a:lstStyle>
            <a:lvl1pPr algn="r">
              <a:lnSpc>
                <a:spcPct val="90000"/>
              </a:lnSpc>
              <a:defRPr sz="1200"/>
            </a:lvl1pPr>
          </a:lstStyle>
          <a:p>
            <a:pPr lvl="0"/>
            <a:r>
              <a:rPr lang="en-US"/>
              <a:t>Source</a:t>
            </a:r>
            <a:endParaRPr lang="en-GB"/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5258F5B8-48A6-4ED8-9DDF-4E1434E59B0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b="42146"/>
          <a:stretch/>
        </p:blipFill>
        <p:spPr>
          <a:xfrm>
            <a:off x="11397297" y="6519862"/>
            <a:ext cx="866141" cy="238387"/>
          </a:xfrm>
          <a:prstGeom prst="rect">
            <a:avLst/>
          </a:prstGeom>
        </p:spPr>
      </p:pic>
      <p:sp>
        <p:nvSpPr>
          <p:cNvPr id="6" name="Title 4">
            <a:extLst>
              <a:ext uri="{FF2B5EF4-FFF2-40B4-BE49-F238E27FC236}">
                <a16:creationId xmlns:a16="http://schemas.microsoft.com/office/drawing/2014/main" id="{DD4E8FD6-1C8C-487A-A398-B12417184D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3705" y="380153"/>
            <a:ext cx="11282045" cy="93857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Enter title he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46303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2939808E-0597-44E2-B8AB-F482CCD9D153}"/>
              </a:ext>
            </a:extLst>
          </p:cNvPr>
          <p:cNvPicPr>
            <a:picLocks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2" b="186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8" name="Picture 57" descr="A picture containing drawing&#10;&#10;Description automatically generated">
            <a:extLst>
              <a:ext uri="{FF2B5EF4-FFF2-40B4-BE49-F238E27FC236}">
                <a16:creationId xmlns:a16="http://schemas.microsoft.com/office/drawing/2014/main" id="{64137B35-CC6F-E542-ABB9-9FCAF706B0F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404E8AB4-5BB2-4F48-BB54-BDC88774BA0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14841" y="1780195"/>
            <a:ext cx="7263528" cy="4150587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6E28AD5-0A66-4841-9D1A-759CF8EEBDC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30168" y="2604133"/>
            <a:ext cx="910186" cy="416514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08759DEA-F130-4DF9-BD84-A73479E1C789}"/>
              </a:ext>
            </a:extLst>
          </p:cNvPr>
          <p:cNvSpPr txBox="1">
            <a:spLocks/>
          </p:cNvSpPr>
          <p:nvPr userDrawn="1"/>
        </p:nvSpPr>
        <p:spPr>
          <a:xfrm>
            <a:off x="298262" y="694964"/>
            <a:ext cx="2675128" cy="938574"/>
          </a:xfrm>
          <a:prstGeom prst="rect">
            <a:avLst/>
          </a:prstGeom>
          <a:noFill/>
        </p:spPr>
        <p:txBody>
          <a:bodyPr wrap="none" lIns="90000" tIns="46800" rIns="90000" bIns="46800" rtlCol="0" anchor="b">
            <a:noAutofit/>
          </a:bodyPr>
          <a:lstStyle/>
          <a:p>
            <a:pPr algn="l">
              <a:lnSpc>
                <a:spcPct val="90000"/>
              </a:lnSpc>
              <a:spcAft>
                <a:spcPts val="600"/>
              </a:spcAft>
            </a:pPr>
            <a:r>
              <a:rPr lang="en-GB" sz="4400" b="1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474942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2939808E-0597-44E2-B8AB-F482CCD9D153}"/>
              </a:ext>
            </a:extLst>
          </p:cNvPr>
          <p:cNvPicPr>
            <a:picLocks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2" b="186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8" name="Picture 57" descr="A picture containing drawing&#10;&#10;Description automatically generated">
            <a:extLst>
              <a:ext uri="{FF2B5EF4-FFF2-40B4-BE49-F238E27FC236}">
                <a16:creationId xmlns:a16="http://schemas.microsoft.com/office/drawing/2014/main" id="{64137B35-CC6F-E542-ABB9-9FCAF706B0F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08759DEA-F130-4DF9-BD84-A73479E1C789}"/>
              </a:ext>
            </a:extLst>
          </p:cNvPr>
          <p:cNvSpPr txBox="1">
            <a:spLocks/>
          </p:cNvSpPr>
          <p:nvPr userDrawn="1"/>
        </p:nvSpPr>
        <p:spPr>
          <a:xfrm>
            <a:off x="298262" y="694964"/>
            <a:ext cx="2675128" cy="938574"/>
          </a:xfrm>
          <a:prstGeom prst="rect">
            <a:avLst/>
          </a:prstGeom>
          <a:noFill/>
        </p:spPr>
        <p:txBody>
          <a:bodyPr wrap="none" lIns="90000" tIns="46800" rIns="90000" bIns="46800" rtlCol="0" anchor="b">
            <a:noAutofit/>
          </a:bodyPr>
          <a:lstStyle/>
          <a:p>
            <a:pPr algn="l">
              <a:lnSpc>
                <a:spcPct val="90000"/>
              </a:lnSpc>
              <a:spcAft>
                <a:spcPts val="600"/>
              </a:spcAft>
            </a:pPr>
            <a:r>
              <a:rPr lang="en-GB" sz="4400" b="1"/>
              <a:t>Thank You</a:t>
            </a:r>
          </a:p>
        </p:txBody>
      </p:sp>
      <p:pic>
        <p:nvPicPr>
          <p:cNvPr id="60" name="Picture 59" descr="A close up of a logo&#10;&#10;Description automatically generated">
            <a:extLst>
              <a:ext uri="{FF2B5EF4-FFF2-40B4-BE49-F238E27FC236}">
                <a16:creationId xmlns:a16="http://schemas.microsoft.com/office/drawing/2014/main" id="{DB4705CD-3414-034C-84E8-2FC2DB08032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72390" y="6334047"/>
            <a:ext cx="1615743" cy="435008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38BF3E08-2020-4C64-AF3B-8C609D26BC9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74660" y="1736253"/>
            <a:ext cx="6729445" cy="3845397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54BCAC0C-413B-4617-94E5-9C3B04065B2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65248" y="2527221"/>
            <a:ext cx="910186" cy="41651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7BA7AE32-0252-42C2-A4D7-CC53819FDBF4}"/>
              </a:ext>
            </a:extLst>
          </p:cNvPr>
          <p:cNvSpPr txBox="1">
            <a:spLocks/>
          </p:cNvSpPr>
          <p:nvPr userDrawn="1"/>
        </p:nvSpPr>
        <p:spPr>
          <a:xfrm>
            <a:off x="383168" y="6551551"/>
            <a:ext cx="411395" cy="137602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l">
              <a:lnSpc>
                <a:spcPct val="90000"/>
              </a:lnSpc>
              <a:spcAft>
                <a:spcPts val="600"/>
              </a:spcAft>
            </a:pPr>
            <a:r>
              <a:rPr lang="en-GB" sz="700" spc="0" baseline="0"/>
              <a:t>This project has received funding from the European Union’s Horizon 2020  research and innovation programme under grant agreement No 853992</a:t>
            </a:r>
          </a:p>
        </p:txBody>
      </p:sp>
    </p:spTree>
    <p:extLst>
      <p:ext uri="{BB962C8B-B14F-4D97-AF65-F5344CB8AC3E}">
        <p14:creationId xmlns:p14="http://schemas.microsoft.com/office/powerpoint/2010/main" val="460937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68FB2DE-8CC9-4886-A59A-C896A31779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4691826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98" imgH="499" progId="TCLayout.ActiveDocument.1">
                  <p:embed/>
                </p:oleObj>
              </mc:Choice>
              <mc:Fallback>
                <p:oleObj name="think-cell Slide" r:id="rId10" imgW="498" imgH="49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68FB2DE-8CC9-4886-A59A-C896A31779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oolsToo_Slide" descr="ToolsToo_Slide">
            <a:extLst>
              <a:ext uri="{FF2B5EF4-FFF2-40B4-BE49-F238E27FC236}">
                <a16:creationId xmlns:a16="http://schemas.microsoft.com/office/drawing/2014/main" id="{B4FF6A81-DA3C-489F-8AF9-CA0D59FC6BB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9F95A77-E929-481C-BA11-9F14E039BE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435" y="423015"/>
            <a:ext cx="11282140" cy="938574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4CE1D2-FED5-4D7F-ACE7-D1D6FC95013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0435" y="1482363"/>
            <a:ext cx="11282140" cy="473746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072E3A-3E09-4119-A41B-C57499F24E2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276094" y="6356351"/>
            <a:ext cx="992109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chemeClr val="accent5"/>
                </a:solidFill>
              </a:defRPr>
            </a:lvl1pPr>
          </a:lstStyle>
          <a:p>
            <a:fld id="{0E4A7B95-0D2B-4374-A11F-920C3FA5D51B}" type="datetimeFigureOut">
              <a:rPr lang="en-GB" smtClean="0"/>
              <a:pPr/>
              <a:t>09/11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9735AA5-D799-468A-954B-2A7FC8E608E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81142" y="6356351"/>
            <a:ext cx="9794951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chemeClr val="accent5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41A9EED-6E0F-459A-854B-83C7655B95C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8201" y="6356351"/>
            <a:ext cx="444374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chemeClr val="accent5"/>
                </a:solidFill>
              </a:defRPr>
            </a:lvl1pPr>
          </a:lstStyle>
          <a:p>
            <a:fld id="{544EC3E3-D844-45E1-8BA4-6C2968291B1A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154752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19" rtl="0" eaLnBrk="1" latinLnBrk="0" hangingPunct="1">
        <a:lnSpc>
          <a:spcPct val="85000"/>
        </a:lnSpc>
        <a:spcBef>
          <a:spcPts val="0"/>
        </a:spcBef>
        <a:spcAft>
          <a:spcPts val="0"/>
        </a:spcAft>
        <a:buNone/>
        <a:defRPr sz="4400" b="1" kern="1200">
          <a:solidFill>
            <a:schemeClr val="accent5"/>
          </a:solidFill>
          <a:latin typeface="+mj-lt"/>
          <a:ea typeface="+mj-ea"/>
          <a:cs typeface="+mj-cs"/>
        </a:defRPr>
      </a:lvl1pPr>
    </p:titleStyle>
    <p:bodyStyle>
      <a:lvl1pPr marL="0" indent="0" algn="l" defTabSz="914419" rtl="0" eaLnBrk="1" latinLnBrk="0" hangingPunct="1">
        <a:lnSpc>
          <a:spcPct val="85000"/>
        </a:lnSpc>
        <a:spcBef>
          <a:spcPts val="600"/>
        </a:spcBef>
        <a:spcAft>
          <a:spcPts val="0"/>
        </a:spcAft>
        <a:buFont typeface="Arial" panose="020B0604020202020204" pitchFamily="34" charset="0"/>
        <a:buNone/>
        <a:defRPr sz="1800" kern="1200">
          <a:solidFill>
            <a:schemeClr val="accent5"/>
          </a:solidFill>
          <a:latin typeface="+mn-lt"/>
          <a:ea typeface="+mn-ea"/>
          <a:cs typeface="+mn-cs"/>
        </a:defRPr>
      </a:lvl1pPr>
      <a:lvl2pPr marL="271468" indent="-180979" algn="l" defTabSz="914419" rtl="0" eaLnBrk="1" latinLnBrk="0" hangingPunct="1">
        <a:lnSpc>
          <a:spcPct val="85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accent5"/>
          </a:solidFill>
          <a:latin typeface="+mn-lt"/>
          <a:ea typeface="+mn-ea"/>
          <a:cs typeface="+mn-cs"/>
        </a:defRPr>
      </a:lvl2pPr>
      <a:lvl3pPr marL="442922" indent="-171453" algn="l" defTabSz="914419" rtl="0" eaLnBrk="1" latinLnBrk="0" hangingPunct="1">
        <a:lnSpc>
          <a:spcPct val="85000"/>
        </a:lnSpc>
        <a:spcBef>
          <a:spcPts val="600"/>
        </a:spcBef>
        <a:spcAft>
          <a:spcPts val="0"/>
        </a:spcAft>
        <a:buFont typeface="Verdana" panose="020B0604030504040204" pitchFamily="34" charset="0"/>
        <a:buChar char="‒"/>
        <a:defRPr sz="1400" kern="1200">
          <a:solidFill>
            <a:schemeClr val="accent5"/>
          </a:solidFill>
          <a:latin typeface="+mn-lt"/>
          <a:ea typeface="+mn-ea"/>
          <a:cs typeface="+mn-cs"/>
        </a:defRPr>
      </a:lvl3pPr>
      <a:lvl4pPr marL="625487" indent="-182567" algn="l" defTabSz="914419" rtl="0" eaLnBrk="1" latinLnBrk="0" hangingPunct="1">
        <a:lnSpc>
          <a:spcPct val="85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200" kern="1200">
          <a:solidFill>
            <a:schemeClr val="accent5"/>
          </a:solidFill>
          <a:latin typeface="+mn-lt"/>
          <a:ea typeface="+mn-ea"/>
          <a:cs typeface="+mn-cs"/>
        </a:defRPr>
      </a:lvl4pPr>
      <a:lvl5pPr marL="806466" indent="-180979" algn="l" defTabSz="914419" rtl="0" eaLnBrk="1" latinLnBrk="0" hangingPunct="1">
        <a:lnSpc>
          <a:spcPct val="85000"/>
        </a:lnSpc>
        <a:spcBef>
          <a:spcPts val="600"/>
        </a:spcBef>
        <a:spcAft>
          <a:spcPts val="0"/>
        </a:spcAft>
        <a:buFont typeface="Verdana" panose="020B0604030504040204" pitchFamily="34" charset="0"/>
        <a:buChar char="‒"/>
        <a:defRPr sz="1200" kern="1200">
          <a:solidFill>
            <a:schemeClr val="accent5"/>
          </a:solidFill>
          <a:latin typeface="+mn-lt"/>
          <a:ea typeface="+mn-ea"/>
          <a:cs typeface="+mn-cs"/>
        </a:defRPr>
      </a:lvl5pPr>
      <a:lvl6pPr marL="2514651" indent="-228604" algn="l" defTabSz="91441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60" indent="-228604" algn="l" defTabSz="91441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70" indent="-228604" algn="l" defTabSz="91441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79" indent="-228604" algn="l" defTabSz="91441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9" algn="l" defTabSz="9144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19" algn="l" defTabSz="9144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28" algn="l" defTabSz="9144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37" algn="l" defTabSz="9144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46" algn="l" defTabSz="9144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56" algn="l" defTabSz="9144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65" algn="l" defTabSz="9144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74" algn="l" defTabSz="9144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pos="268">
          <p15:clr>
            <a:srgbClr val="F26B43"/>
          </p15:clr>
        </p15:guide>
        <p15:guide id="4" pos="7380">
          <p15:clr>
            <a:srgbClr val="F26B43"/>
          </p15:clr>
        </p15:guide>
        <p15:guide id="5" orient="horz" pos="833">
          <p15:clr>
            <a:srgbClr val="F26B43"/>
          </p15:clr>
        </p15:guide>
        <p15:guide id="6" orient="horz" pos="709">
          <p15:clr>
            <a:srgbClr val="F26B43"/>
          </p15:clr>
        </p15:guide>
        <p15:guide id="7" orient="horz" pos="4003">
          <p15:clr>
            <a:srgbClr val="F26B43"/>
          </p15:clr>
        </p15:guide>
        <p15:guide id="8" orient="horz" pos="907">
          <p15:clr>
            <a:srgbClr val="F26B43"/>
          </p15:clr>
        </p15:guide>
        <p15:guide id="9" orient="horz" pos="102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14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.emf"/><Relationship Id="rId9" Type="http://schemas.openxmlformats.org/officeDocument/2006/relationships/image" Target="../media/image1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>
            <a:extLst>
              <a:ext uri="{FF2B5EF4-FFF2-40B4-BE49-F238E27FC236}">
                <a16:creationId xmlns:a16="http://schemas.microsoft.com/office/drawing/2014/main" id="{28E8D9F9-99BF-4E87-A868-445383D1D97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78419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8" imgH="499" progId="TCLayout.ActiveDocument.1">
                  <p:embed/>
                </p:oleObj>
              </mc:Choice>
              <mc:Fallback>
                <p:oleObj name="think-cell Slide" r:id="rId3" imgW="498" imgH="499" progId="TCLayout.ActiveDocument.1">
                  <p:embed/>
                  <p:pic>
                    <p:nvPicPr>
                      <p:cNvPr id="18" name="Object 17" hidden="1">
                        <a:extLst>
                          <a:ext uri="{FF2B5EF4-FFF2-40B4-BE49-F238E27FC236}">
                            <a16:creationId xmlns:a16="http://schemas.microsoft.com/office/drawing/2014/main" id="{28E8D9F9-99BF-4E87-A868-445383D1D9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6AB31DF-C301-5A4B-A92B-3AA9954BEA7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2248297" y="6576097"/>
            <a:ext cx="425758" cy="166199"/>
          </a:xfrm>
        </p:spPr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EFBAD62-8B34-1A4B-BFE0-07FA431BA7A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0734E06D-272A-43A5-9218-92F5550979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Use this for scenarios 1 - 5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9EDE4B2-681D-4AAB-93AA-7CB9117F1EE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50712" y="1467360"/>
            <a:ext cx="2544132" cy="5100097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06D4ACA0-8351-4BC3-B3F4-2AA62A63FD9B}"/>
              </a:ext>
            </a:extLst>
          </p:cNvPr>
          <p:cNvSpPr txBox="1"/>
          <p:nvPr/>
        </p:nvSpPr>
        <p:spPr>
          <a:xfrm>
            <a:off x="6768679" y="1576929"/>
            <a:ext cx="4821451" cy="26398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‘Not Recognized’ -&gt; ok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A086E49-0059-43DD-8398-C3F97AE1AFC6}"/>
              </a:ext>
            </a:extLst>
          </p:cNvPr>
          <p:cNvSpPr txBox="1"/>
          <p:nvPr/>
        </p:nvSpPr>
        <p:spPr>
          <a:xfrm>
            <a:off x="6768679" y="2165644"/>
            <a:ext cx="4955786" cy="31716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hange to ‘This product cannot be found’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E828BAF-8E20-4D78-9E34-352BF63D18A2}"/>
              </a:ext>
            </a:extLst>
          </p:cNvPr>
          <p:cNvSpPr txBox="1"/>
          <p:nvPr/>
        </p:nvSpPr>
        <p:spPr>
          <a:xfrm>
            <a:off x="6768679" y="2511420"/>
            <a:ext cx="3826376" cy="104929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dirty="0">
                <a:solidFill>
                  <a:prstClr val="black"/>
                </a:solidFill>
                <a:latin typeface="Calibri"/>
              </a:rPr>
              <a:t>Delete text. Instead add: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rror code 001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(which codes to use, see below)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7B604EA4-2421-463E-A460-34CE3FEE28AB}"/>
              </a:ext>
            </a:extLst>
          </p:cNvPr>
          <p:cNvSpPr/>
          <p:nvPr/>
        </p:nvSpPr>
        <p:spPr>
          <a:xfrm>
            <a:off x="3905881" y="1654647"/>
            <a:ext cx="2652365" cy="240765"/>
          </a:xfrm>
          <a:prstGeom prst="roundRect">
            <a:avLst/>
          </a:prstGeom>
          <a:noFill/>
          <a:ln w="38100"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9195494D-09F5-459B-A67A-540E99B50D5F}"/>
              </a:ext>
            </a:extLst>
          </p:cNvPr>
          <p:cNvSpPr/>
          <p:nvPr/>
        </p:nvSpPr>
        <p:spPr>
          <a:xfrm>
            <a:off x="3905881" y="2190801"/>
            <a:ext cx="2652365" cy="310308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E75053A8-20A1-488E-9B9B-ED2949174537}"/>
              </a:ext>
            </a:extLst>
          </p:cNvPr>
          <p:cNvSpPr/>
          <p:nvPr/>
        </p:nvSpPr>
        <p:spPr>
          <a:xfrm>
            <a:off x="3905881" y="2559866"/>
            <a:ext cx="2652365" cy="420102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E0F0026-F576-4F91-A28C-4E809FB3D2C8}"/>
              </a:ext>
            </a:extLst>
          </p:cNvPr>
          <p:cNvSpPr txBox="1"/>
          <p:nvPr/>
        </p:nvSpPr>
        <p:spPr>
          <a:xfrm>
            <a:off x="6865000" y="5020117"/>
            <a:ext cx="3072288" cy="168952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>
              <a:lnSpc>
                <a:spcPct val="90000"/>
              </a:lnSpc>
              <a:spcAft>
                <a:spcPts val="600"/>
              </a:spcAft>
            </a:pPr>
            <a:r>
              <a:rPr lang="en-US" sz="1400" dirty="0"/>
              <a:t>For technical team only: </a:t>
            </a:r>
          </a:p>
          <a:p>
            <a:pPr algn="l">
              <a:lnSpc>
                <a:spcPct val="90000"/>
              </a:lnSpc>
              <a:spcAft>
                <a:spcPts val="600"/>
              </a:spcAft>
            </a:pPr>
            <a:r>
              <a:rPr lang="en-US" sz="1400" dirty="0"/>
              <a:t>001: product not available</a:t>
            </a:r>
          </a:p>
          <a:p>
            <a:pPr algn="l">
              <a:lnSpc>
                <a:spcPct val="90000"/>
              </a:lnSpc>
              <a:spcAft>
                <a:spcPts val="600"/>
              </a:spcAft>
            </a:pPr>
            <a:r>
              <a:rPr lang="en-US" sz="1400" dirty="0"/>
              <a:t>002: GTIN cannot be decoded (too short)</a:t>
            </a:r>
          </a:p>
          <a:p>
            <a:pPr algn="l">
              <a:lnSpc>
                <a:spcPct val="90000"/>
              </a:lnSpc>
              <a:spcAft>
                <a:spcPts val="600"/>
              </a:spcAft>
            </a:pPr>
            <a:r>
              <a:rPr lang="en-US" sz="1400" dirty="0"/>
              <a:t>003: GTIN check digit</a:t>
            </a:r>
          </a:p>
          <a:p>
            <a:pPr algn="l">
              <a:lnSpc>
                <a:spcPct val="90000"/>
              </a:lnSpc>
              <a:spcAft>
                <a:spcPts val="600"/>
              </a:spcAft>
            </a:pPr>
            <a:r>
              <a:rPr lang="en-US" sz="1400" dirty="0"/>
              <a:t>004: network is too slow</a:t>
            </a:r>
          </a:p>
          <a:p>
            <a:pPr algn="l">
              <a:lnSpc>
                <a:spcPct val="90000"/>
              </a:lnSpc>
              <a:spcAft>
                <a:spcPts val="600"/>
              </a:spcAft>
            </a:pPr>
            <a:r>
              <a:rPr lang="en-US" sz="1400" dirty="0"/>
              <a:t>005: invalid XML or error in browser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9F901116-801D-4DBD-A03B-DBFCF48660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274" y="1583634"/>
            <a:ext cx="621403" cy="554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>
            <a:extLst>
              <a:ext uri="{FF2B5EF4-FFF2-40B4-BE49-F238E27FC236}">
                <a16:creationId xmlns:a16="http://schemas.microsoft.com/office/drawing/2014/main" id="{2B854C3F-92E1-4EFF-BAC4-F5D1E408A8E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282" y="2282972"/>
            <a:ext cx="672508" cy="603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BE1076A7-916A-4DCF-B76B-06B462CAAF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159" y="3026709"/>
            <a:ext cx="575742" cy="5945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0FC32AF-FA4B-4D8B-89D0-A580B6DAD0F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26590" y="3802934"/>
            <a:ext cx="514263" cy="48445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5CB08D5A-B557-417C-90F3-D2243A13D358}"/>
              </a:ext>
            </a:extLst>
          </p:cNvPr>
          <p:cNvSpPr txBox="1"/>
          <p:nvPr/>
        </p:nvSpPr>
        <p:spPr>
          <a:xfrm>
            <a:off x="781175" y="1604742"/>
            <a:ext cx="1628964" cy="289459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>
              <a:lnSpc>
                <a:spcPct val="90000"/>
              </a:lnSpc>
              <a:spcAft>
                <a:spcPts val="600"/>
              </a:spcAft>
            </a:pPr>
            <a:r>
              <a:rPr lang="en-US" sz="1200" dirty="0"/>
              <a:t>Scenario1:</a:t>
            </a:r>
          </a:p>
          <a:p>
            <a:pPr algn="l">
              <a:lnSpc>
                <a:spcPct val="90000"/>
              </a:lnSpc>
              <a:spcAft>
                <a:spcPts val="600"/>
              </a:spcAft>
            </a:pPr>
            <a:r>
              <a:rPr lang="en-US" sz="1200" dirty="0"/>
              <a:t>GTIN not created in EW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1200" dirty="0"/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200" dirty="0"/>
              <a:t>Scenario2:</a:t>
            </a:r>
          </a:p>
          <a:p>
            <a:pPr algn="l">
              <a:lnSpc>
                <a:spcPct val="90000"/>
              </a:lnSpc>
              <a:spcAft>
                <a:spcPts val="600"/>
              </a:spcAft>
            </a:pPr>
            <a:r>
              <a:rPr lang="en-US" sz="1200" dirty="0"/>
              <a:t>GTIN error, only 13 digits</a:t>
            </a:r>
          </a:p>
          <a:p>
            <a:pPr algn="l">
              <a:lnSpc>
                <a:spcPct val="90000"/>
              </a:lnSpc>
              <a:spcAft>
                <a:spcPts val="600"/>
              </a:spcAft>
            </a:pPr>
            <a:endParaRPr lang="en-US" sz="1200" dirty="0"/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200" dirty="0"/>
              <a:t>Scenario3:</a:t>
            </a:r>
          </a:p>
          <a:p>
            <a:pPr algn="l">
              <a:lnSpc>
                <a:spcPct val="90000"/>
              </a:lnSpc>
              <a:spcAft>
                <a:spcPts val="600"/>
              </a:spcAft>
            </a:pPr>
            <a:r>
              <a:rPr lang="en-US" sz="1200" dirty="0"/>
              <a:t>GITIN error, check digit wrong</a:t>
            </a:r>
          </a:p>
          <a:p>
            <a:pPr algn="l">
              <a:lnSpc>
                <a:spcPct val="90000"/>
              </a:lnSpc>
              <a:spcAft>
                <a:spcPts val="600"/>
              </a:spcAft>
            </a:pPr>
            <a:endParaRPr lang="en-US" sz="1200" dirty="0"/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200" dirty="0"/>
              <a:t>Scenario5:</a:t>
            </a:r>
          </a:p>
          <a:p>
            <a:pPr algn="l">
              <a:lnSpc>
                <a:spcPct val="90000"/>
              </a:lnSpc>
              <a:spcAft>
                <a:spcPts val="600"/>
              </a:spcAft>
            </a:pPr>
            <a:r>
              <a:rPr lang="en-US" sz="1200" dirty="0"/>
              <a:t>XML error</a:t>
            </a: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1B7AC8A5-DEB2-47D2-981E-A4F1742D12B8}"/>
              </a:ext>
            </a:extLst>
          </p:cNvPr>
          <p:cNvSpPr/>
          <p:nvPr/>
        </p:nvSpPr>
        <p:spPr>
          <a:xfrm>
            <a:off x="3906891" y="1922106"/>
            <a:ext cx="2652365" cy="215532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25A941F-8E96-4EF1-8348-32D924D1DCB9}"/>
              </a:ext>
            </a:extLst>
          </p:cNvPr>
          <p:cNvSpPr txBox="1"/>
          <p:nvPr/>
        </p:nvSpPr>
        <p:spPr>
          <a:xfrm>
            <a:off x="6768679" y="1866904"/>
            <a:ext cx="4470569" cy="3416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move ‘Unverified Product’ </a:t>
            </a:r>
          </a:p>
        </p:txBody>
      </p:sp>
    </p:spTree>
    <p:extLst>
      <p:ext uri="{BB962C8B-B14F-4D97-AF65-F5344CB8AC3E}">
        <p14:creationId xmlns:p14="http://schemas.microsoft.com/office/powerpoint/2010/main" val="374629582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 advClick="0"/>
    </mc:Choice>
    <mc:Fallback>
      <p:transition advClick="0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36FB909-FD4A-4315-9CA0-866E778572C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790871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8" imgH="499" progId="TCLayout.ActiveDocument.1">
                  <p:embed/>
                </p:oleObj>
              </mc:Choice>
              <mc:Fallback>
                <p:oleObj name="think-cell Slide" r:id="rId3" imgW="498" imgH="49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36FB909-FD4A-4315-9CA0-866E778572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DC48EC0B-FD7C-4FB1-AE48-DDC29BD6F26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07598" y="1413940"/>
            <a:ext cx="2604544" cy="5332235"/>
          </a:xfrm>
          <a:prstGeom prst="rect">
            <a:avLst/>
          </a:prstGeo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6AB31DF-C301-5A4B-A92B-3AA9954BEA7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EFBAD62-8B34-1A4B-BFE0-07FA431BA7A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0734E06D-272A-43A5-9218-92F5550979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Use this for scenarios 6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6D4ACA0-8351-4BC3-B3F4-2AA62A63FD9B}"/>
              </a:ext>
            </a:extLst>
          </p:cNvPr>
          <p:cNvSpPr txBox="1"/>
          <p:nvPr/>
        </p:nvSpPr>
        <p:spPr>
          <a:xfrm>
            <a:off x="6435811" y="2271797"/>
            <a:ext cx="3237152" cy="46270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kay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E828BAF-8E20-4D78-9E34-352BF63D18A2}"/>
              </a:ext>
            </a:extLst>
          </p:cNvPr>
          <p:cNvSpPr txBox="1"/>
          <p:nvPr/>
        </p:nvSpPr>
        <p:spPr>
          <a:xfrm>
            <a:off x="6437918" y="3104288"/>
            <a:ext cx="1430388" cy="42010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kay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7B604EA4-2421-463E-A460-34CE3FEE28AB}"/>
              </a:ext>
            </a:extLst>
          </p:cNvPr>
          <p:cNvSpPr/>
          <p:nvPr/>
        </p:nvSpPr>
        <p:spPr>
          <a:xfrm>
            <a:off x="3560710" y="2259674"/>
            <a:ext cx="2694755" cy="462708"/>
          </a:xfrm>
          <a:prstGeom prst="roundRect">
            <a:avLst/>
          </a:prstGeom>
          <a:noFill/>
          <a:ln w="38100"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E75053A8-20A1-488E-9B9B-ED2949174537}"/>
              </a:ext>
            </a:extLst>
          </p:cNvPr>
          <p:cNvSpPr/>
          <p:nvPr/>
        </p:nvSpPr>
        <p:spPr>
          <a:xfrm>
            <a:off x="3559542" y="3074010"/>
            <a:ext cx="2695923" cy="420102"/>
          </a:xfrm>
          <a:prstGeom prst="roundRect">
            <a:avLst/>
          </a:prstGeom>
          <a:noFill/>
          <a:ln w="38100"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94A536DC-8420-4192-B1ED-776EF51EF3C4}"/>
              </a:ext>
            </a:extLst>
          </p:cNvPr>
          <p:cNvSpPr/>
          <p:nvPr/>
        </p:nvSpPr>
        <p:spPr>
          <a:xfrm>
            <a:off x="3566766" y="3597904"/>
            <a:ext cx="2700810" cy="1869494"/>
          </a:xfrm>
          <a:prstGeom prst="roundRect">
            <a:avLst>
              <a:gd name="adj" fmla="val 9595"/>
            </a:avLst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B3D06F5-9B2B-4B0F-AEAF-DC12B75547AD}"/>
              </a:ext>
            </a:extLst>
          </p:cNvPr>
          <p:cNvSpPr txBox="1"/>
          <p:nvPr/>
        </p:nvSpPr>
        <p:spPr>
          <a:xfrm>
            <a:off x="6393421" y="4112916"/>
            <a:ext cx="3237151" cy="32038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move for MVP1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8CD7F9B-1DE8-4BDF-8D60-86880846EB8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02178" y="1965839"/>
            <a:ext cx="557721" cy="548426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7A1DA85A-7287-4EA0-A55F-3373238493CB}"/>
              </a:ext>
            </a:extLst>
          </p:cNvPr>
          <p:cNvSpPr txBox="1"/>
          <p:nvPr/>
        </p:nvSpPr>
        <p:spPr>
          <a:xfrm>
            <a:off x="841731" y="2016525"/>
            <a:ext cx="1628964" cy="720619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>
              <a:lnSpc>
                <a:spcPct val="90000"/>
              </a:lnSpc>
              <a:spcAft>
                <a:spcPts val="600"/>
              </a:spcAft>
            </a:pPr>
            <a:r>
              <a:rPr lang="en-US" sz="1200" dirty="0"/>
              <a:t>Scenario6:</a:t>
            </a:r>
          </a:p>
          <a:p>
            <a:pPr algn="l">
              <a:lnSpc>
                <a:spcPct val="90000"/>
              </a:lnSpc>
              <a:spcAft>
                <a:spcPts val="600"/>
              </a:spcAft>
            </a:pPr>
            <a:r>
              <a:rPr lang="en-US" sz="1200" dirty="0"/>
              <a:t>Product expired</a:t>
            </a:r>
          </a:p>
          <a:p>
            <a:pPr algn="l">
              <a:lnSpc>
                <a:spcPct val="90000"/>
              </a:lnSpc>
              <a:spcAft>
                <a:spcPts val="600"/>
              </a:spcAft>
            </a:pPr>
            <a:r>
              <a:rPr lang="en-US" sz="1200" dirty="0"/>
              <a:t>EXP in barcode in the past</a:t>
            </a:r>
          </a:p>
        </p:txBody>
      </p:sp>
    </p:spTree>
    <p:extLst>
      <p:ext uri="{BB962C8B-B14F-4D97-AF65-F5344CB8AC3E}">
        <p14:creationId xmlns:p14="http://schemas.microsoft.com/office/powerpoint/2010/main" val="368726593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 advClick="0"/>
    </mc:Choice>
    <mc:Fallback>
      <p:transition advClick="0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755F625-EF57-4E7F-87FB-6AFE5F826DC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76217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8" imgH="499" progId="TCLayout.ActiveDocument.1">
                  <p:embed/>
                </p:oleObj>
              </mc:Choice>
              <mc:Fallback>
                <p:oleObj name="think-cell Slide" r:id="rId3" imgW="498" imgH="49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755F625-EF57-4E7F-87FB-6AFE5F826D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F9183033-184A-4CEC-9A19-F573F2784D1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31923" y="1444630"/>
            <a:ext cx="2552287" cy="5413370"/>
          </a:xfrm>
          <a:prstGeom prst="rect">
            <a:avLst/>
          </a:prstGeo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6AB31DF-C301-5A4B-A92B-3AA9954BEA7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1966965" y="6582153"/>
            <a:ext cx="425758" cy="166199"/>
          </a:xfrm>
        </p:spPr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EFBAD62-8B34-1A4B-BFE0-07FA431BA7A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0734E06D-272A-43A5-9218-92F5550979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Use this for scenarios 7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6D4ACA0-8351-4BC3-B3F4-2AA62A63FD9B}"/>
              </a:ext>
            </a:extLst>
          </p:cNvPr>
          <p:cNvSpPr txBox="1"/>
          <p:nvPr/>
        </p:nvSpPr>
        <p:spPr>
          <a:xfrm>
            <a:off x="6324336" y="1685962"/>
            <a:ext cx="5938313" cy="33661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hange ‘not recognized’ to ‘Product Information not Available’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E828BAF-8E20-4D78-9E34-352BF63D18A2}"/>
              </a:ext>
            </a:extLst>
          </p:cNvPr>
          <p:cNvSpPr txBox="1"/>
          <p:nvPr/>
        </p:nvSpPr>
        <p:spPr>
          <a:xfrm>
            <a:off x="6332516" y="2233858"/>
            <a:ext cx="5811475" cy="58200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place with ‘Unfortunately, no product information has been loaded’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7B604EA4-2421-463E-A460-34CE3FEE28AB}"/>
              </a:ext>
            </a:extLst>
          </p:cNvPr>
          <p:cNvSpPr/>
          <p:nvPr/>
        </p:nvSpPr>
        <p:spPr>
          <a:xfrm>
            <a:off x="3693497" y="1740284"/>
            <a:ext cx="2634635" cy="233851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E75053A8-20A1-488E-9B9B-ED2949174537}"/>
              </a:ext>
            </a:extLst>
          </p:cNvPr>
          <p:cNvSpPr/>
          <p:nvPr/>
        </p:nvSpPr>
        <p:spPr>
          <a:xfrm>
            <a:off x="3699989" y="2263814"/>
            <a:ext cx="2622088" cy="364230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94A536DC-8420-4192-B1ED-776EF51EF3C4}"/>
              </a:ext>
            </a:extLst>
          </p:cNvPr>
          <p:cNvSpPr/>
          <p:nvPr/>
        </p:nvSpPr>
        <p:spPr>
          <a:xfrm>
            <a:off x="3702423" y="2664947"/>
            <a:ext cx="2619654" cy="496091"/>
          </a:xfrm>
          <a:prstGeom prst="roundRect">
            <a:avLst>
              <a:gd name="adj" fmla="val 9595"/>
            </a:avLst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B3D06F5-9B2B-4B0F-AEAF-DC12B75547AD}"/>
              </a:ext>
            </a:extLst>
          </p:cNvPr>
          <p:cNvSpPr txBox="1"/>
          <p:nvPr/>
        </p:nvSpPr>
        <p:spPr>
          <a:xfrm>
            <a:off x="6338938" y="2828139"/>
            <a:ext cx="3237151" cy="32038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move this text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32446E2-9A07-4CC1-9652-81C55D5A7D25}"/>
              </a:ext>
            </a:extLst>
          </p:cNvPr>
          <p:cNvSpPr txBox="1"/>
          <p:nvPr/>
        </p:nvSpPr>
        <p:spPr>
          <a:xfrm>
            <a:off x="841730" y="2016525"/>
            <a:ext cx="2361697" cy="720619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>
              <a:lnSpc>
                <a:spcPct val="90000"/>
              </a:lnSpc>
              <a:spcAft>
                <a:spcPts val="600"/>
              </a:spcAft>
            </a:pPr>
            <a:r>
              <a:rPr lang="en-US" sz="1200" dirty="0"/>
              <a:t>Scenario7:</a:t>
            </a:r>
          </a:p>
          <a:p>
            <a:pPr algn="l">
              <a:lnSpc>
                <a:spcPct val="90000"/>
              </a:lnSpc>
              <a:spcAft>
                <a:spcPts val="600"/>
              </a:spcAft>
            </a:pPr>
            <a:r>
              <a:rPr lang="en-US" sz="1200" dirty="0"/>
              <a:t>Product exists in EW but there is no </a:t>
            </a:r>
          </a:p>
          <a:p>
            <a:pPr algn="l">
              <a:lnSpc>
                <a:spcPct val="90000"/>
              </a:lnSpc>
              <a:spcAft>
                <a:spcPts val="600"/>
              </a:spcAft>
            </a:pPr>
            <a:r>
              <a:rPr lang="en-US" sz="1200" dirty="0"/>
              <a:t>ePI uploaded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F5F4FAE3-7D60-45BF-BF61-44857D103F8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78558" y="2107359"/>
            <a:ext cx="575266" cy="497472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C6C4DBA0-40B5-48F3-B2FD-3F1E077F8225}"/>
              </a:ext>
            </a:extLst>
          </p:cNvPr>
          <p:cNvSpPr txBox="1"/>
          <p:nvPr/>
        </p:nvSpPr>
        <p:spPr>
          <a:xfrm>
            <a:off x="6335703" y="1951682"/>
            <a:ext cx="3123190" cy="3139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move ‘unverified product’</a:t>
            </a: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DE3C1482-213A-475E-A47D-400C46A0C0A5}"/>
              </a:ext>
            </a:extLst>
          </p:cNvPr>
          <p:cNvSpPr/>
          <p:nvPr/>
        </p:nvSpPr>
        <p:spPr>
          <a:xfrm>
            <a:off x="3694506" y="1995630"/>
            <a:ext cx="2634635" cy="233851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4032428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harmaLedger Consortium">
  <a:themeElements>
    <a:clrScheme name="Pharmaledger">
      <a:dk1>
        <a:sysClr val="windowText" lastClr="000000"/>
      </a:dk1>
      <a:lt1>
        <a:sysClr val="window" lastClr="FFFFFF"/>
      </a:lt1>
      <a:dk2>
        <a:srgbClr val="1D1D1B"/>
      </a:dk2>
      <a:lt2>
        <a:srgbClr val="FFFFFF"/>
      </a:lt2>
      <a:accent1>
        <a:srgbClr val="134E9E"/>
      </a:accent1>
      <a:accent2>
        <a:srgbClr val="7FC3CB"/>
      </a:accent2>
      <a:accent3>
        <a:srgbClr val="008798"/>
      </a:accent3>
      <a:accent4>
        <a:srgbClr val="89A6CE"/>
      </a:accent4>
      <a:accent5>
        <a:srgbClr val="1D1D1B"/>
      </a:accent5>
      <a:accent6>
        <a:srgbClr val="D8D8D8"/>
      </a:accent6>
      <a:hlink>
        <a:srgbClr val="0563C1"/>
      </a:hlink>
      <a:folHlink>
        <a:srgbClr val="954F72"/>
      </a:folHlink>
    </a:clrScheme>
    <a:fontScheme name="Pharmaledger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lnSpc>
            <a:spcPct val="90000"/>
          </a:lnSpc>
          <a:spcAft>
            <a:spcPts val="600"/>
          </a:spcAft>
          <a:defRPr sz="20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noAutofit/>
      </a:bodyPr>
      <a:lstStyle>
        <a:defPPr algn="l">
          <a:lnSpc>
            <a:spcPct val="90000"/>
          </a:lnSpc>
          <a:spcAft>
            <a:spcPts val="600"/>
          </a:spcAft>
          <a:defRPr sz="20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F2D22BF3-F858-4B40-BC5E-3B52BF93B81C}" vid="{727E5E36-1847-4D76-AC2B-13BAF0B6846E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80</Words>
  <Application>Microsoft Office PowerPoint</Application>
  <PresentationFormat>Widescreen</PresentationFormat>
  <Paragraphs>39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8" baseType="lpstr">
      <vt:lpstr>Arial</vt:lpstr>
      <vt:lpstr>Calibri</vt:lpstr>
      <vt:lpstr>Verdana</vt:lpstr>
      <vt:lpstr>PharmaLedger Consortium</vt:lpstr>
      <vt:lpstr>think-cell Slide</vt:lpstr>
      <vt:lpstr>Use this for scenarios 1 - 5</vt:lpstr>
      <vt:lpstr>Use this for scenarios 6</vt:lpstr>
      <vt:lpstr>Use this for scenarios 7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cisions, Actions 7-Nov Tracy W, Ken T, Patrick M, Sonja S (apols Michael R, Meike)</dc:title>
  <dc:creator>Thursby, Ken</dc:creator>
  <cp:lastModifiedBy>Steiner, Sonja (Ext)</cp:lastModifiedBy>
  <cp:revision>7</cp:revision>
  <dcterms:created xsi:type="dcterms:W3CDTF">2022-11-08T15:12:02Z</dcterms:created>
  <dcterms:modified xsi:type="dcterms:W3CDTF">2022-11-09T14:40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81acc0d-dcc4-4dc9-a2c5-be70b05a2fe6_Enabled">
    <vt:lpwstr>true</vt:lpwstr>
  </property>
  <property fmtid="{D5CDD505-2E9C-101B-9397-08002B2CF9AE}" pid="3" name="MSIP_Label_e81acc0d-dcc4-4dc9-a2c5-be70b05a2fe6_SetDate">
    <vt:lpwstr>2022-11-08T15:13:23Z</vt:lpwstr>
  </property>
  <property fmtid="{D5CDD505-2E9C-101B-9397-08002B2CF9AE}" pid="4" name="MSIP_Label_e81acc0d-dcc4-4dc9-a2c5-be70b05a2fe6_Method">
    <vt:lpwstr>Privileged</vt:lpwstr>
  </property>
  <property fmtid="{D5CDD505-2E9C-101B-9397-08002B2CF9AE}" pid="5" name="MSIP_Label_e81acc0d-dcc4-4dc9-a2c5-be70b05a2fe6_Name">
    <vt:lpwstr>e81acc0d-dcc4-4dc9-a2c5-be70b05a2fe6</vt:lpwstr>
  </property>
  <property fmtid="{D5CDD505-2E9C-101B-9397-08002B2CF9AE}" pid="6" name="MSIP_Label_e81acc0d-dcc4-4dc9-a2c5-be70b05a2fe6_SiteId">
    <vt:lpwstr>a00de4ec-48a8-43a6-be74-e31274e2060d</vt:lpwstr>
  </property>
  <property fmtid="{D5CDD505-2E9C-101B-9397-08002B2CF9AE}" pid="7" name="MSIP_Label_e81acc0d-dcc4-4dc9-a2c5-be70b05a2fe6_ActionId">
    <vt:lpwstr>1769c60d-052b-4328-96cf-48a8a6b69bdb</vt:lpwstr>
  </property>
  <property fmtid="{D5CDD505-2E9C-101B-9397-08002B2CF9AE}" pid="8" name="MSIP_Label_e81acc0d-dcc4-4dc9-a2c5-be70b05a2fe6_ContentBits">
    <vt:lpwstr>0</vt:lpwstr>
  </property>
  <property fmtid="{D5CDD505-2E9C-101B-9397-08002B2CF9AE}" pid="9" name="MerckAIPLabel">
    <vt:lpwstr>NotClassified</vt:lpwstr>
  </property>
  <property fmtid="{D5CDD505-2E9C-101B-9397-08002B2CF9AE}" pid="10" name="MerckAIPDataExchange">
    <vt:lpwstr>!MRKMIP@NotClassified</vt:lpwstr>
  </property>
  <property fmtid="{D5CDD505-2E9C-101B-9397-08002B2CF9AE}" pid="11" name="MSIP_Label_3c9bec58-8084-492e-8360-0e1cfe36408c_Enabled">
    <vt:lpwstr>true</vt:lpwstr>
  </property>
  <property fmtid="{D5CDD505-2E9C-101B-9397-08002B2CF9AE}" pid="12" name="MSIP_Label_3c9bec58-8084-492e-8360-0e1cfe36408c_SetDate">
    <vt:lpwstr>2022-11-09T12:01:18Z</vt:lpwstr>
  </property>
  <property fmtid="{D5CDD505-2E9C-101B-9397-08002B2CF9AE}" pid="13" name="MSIP_Label_3c9bec58-8084-492e-8360-0e1cfe36408c_Method">
    <vt:lpwstr>Standard</vt:lpwstr>
  </property>
  <property fmtid="{D5CDD505-2E9C-101B-9397-08002B2CF9AE}" pid="14" name="MSIP_Label_3c9bec58-8084-492e-8360-0e1cfe36408c_Name">
    <vt:lpwstr>Not Protected -Pilot</vt:lpwstr>
  </property>
  <property fmtid="{D5CDD505-2E9C-101B-9397-08002B2CF9AE}" pid="15" name="MSIP_Label_3c9bec58-8084-492e-8360-0e1cfe36408c_SiteId">
    <vt:lpwstr>f35a6974-607f-47d4-82d7-ff31d7dc53a5</vt:lpwstr>
  </property>
  <property fmtid="{D5CDD505-2E9C-101B-9397-08002B2CF9AE}" pid="16" name="MSIP_Label_3c9bec58-8084-492e-8360-0e1cfe36408c_ActionId">
    <vt:lpwstr>a3374716-424c-49db-8380-dc1536ac9a13</vt:lpwstr>
  </property>
  <property fmtid="{D5CDD505-2E9C-101B-9397-08002B2CF9AE}" pid="17" name="MSIP_Label_3c9bec58-8084-492e-8360-0e1cfe36408c_ContentBits">
    <vt:lpwstr>0</vt:lpwstr>
  </property>
</Properties>
</file>